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3" r:id="rId5"/>
  </p:sldMasterIdLst>
  <p:notesMasterIdLst>
    <p:notesMasterId r:id="rId17"/>
  </p:notesMasterIdLst>
  <p:sldIdLst>
    <p:sldId id="2146848437" r:id="rId6"/>
    <p:sldId id="2147471996" r:id="rId7"/>
    <p:sldId id="2147472032" r:id="rId8"/>
    <p:sldId id="2147472033" r:id="rId9"/>
    <p:sldId id="2147472034" r:id="rId10"/>
    <p:sldId id="2147472035" r:id="rId11"/>
    <p:sldId id="2147472036" r:id="rId12"/>
    <p:sldId id="2147472038" r:id="rId13"/>
    <p:sldId id="2147472040" r:id="rId14"/>
    <p:sldId id="2147472041" r:id="rId15"/>
    <p:sldId id="2147472042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9762FF-EEEE-4685-A34A-D740D6601C37}" v="1" dt="2023-11-01T15:20:52.39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le Norney2" userId="3937aebc-2741-4f72-aed9-694b0b032dac" providerId="ADAL" clId="{648DBEE4-7987-410D-9CDE-CE2EC70BCC36}"/>
    <pc:docChg chg="modSld">
      <pc:chgData name="Michelle Norney2" userId="3937aebc-2741-4f72-aed9-694b0b032dac" providerId="ADAL" clId="{648DBEE4-7987-410D-9CDE-CE2EC70BCC36}" dt="2023-10-12T08:57:54.160" v="0" actId="1076"/>
      <pc:docMkLst>
        <pc:docMk/>
      </pc:docMkLst>
      <pc:sldChg chg="modSp mod">
        <pc:chgData name="Michelle Norney2" userId="3937aebc-2741-4f72-aed9-694b0b032dac" providerId="ADAL" clId="{648DBEE4-7987-410D-9CDE-CE2EC70BCC36}" dt="2023-10-12T08:57:54.160" v="0" actId="1076"/>
        <pc:sldMkLst>
          <pc:docMk/>
          <pc:sldMk cId="4179571657" sldId="2147472041"/>
        </pc:sldMkLst>
        <pc:picChg chg="mod">
          <ac:chgData name="Michelle Norney2" userId="3937aebc-2741-4f72-aed9-694b0b032dac" providerId="ADAL" clId="{648DBEE4-7987-410D-9CDE-CE2EC70BCC36}" dt="2023-10-12T08:57:54.160" v="0" actId="1076"/>
          <ac:picMkLst>
            <pc:docMk/>
            <pc:sldMk cId="4179571657" sldId="2147472041"/>
            <ac:picMk id="6" creationId="{B15ED69B-FD41-4FB8-E496-C0A4D8B7CA7C}"/>
          </ac:picMkLst>
        </pc:picChg>
      </pc:sldChg>
    </pc:docChg>
  </pc:docChgLst>
  <pc:docChgLst>
    <pc:chgData name="Michelle Norney2" userId="3937aebc-2741-4f72-aed9-694b0b032dac" providerId="ADAL" clId="{11E653C8-57AF-47B2-B646-C984C055F00E}"/>
    <pc:docChg chg="undo custSel addSld delSld modSld sldOrd">
      <pc:chgData name="Michelle Norney2" userId="3937aebc-2741-4f72-aed9-694b0b032dac" providerId="ADAL" clId="{11E653C8-57AF-47B2-B646-C984C055F00E}" dt="2023-10-25T07:51:25.075" v="5074" actId="1076"/>
      <pc:docMkLst>
        <pc:docMk/>
      </pc:docMkLst>
      <pc:sldChg chg="modSp mod">
        <pc:chgData name="Michelle Norney2" userId="3937aebc-2741-4f72-aed9-694b0b032dac" providerId="ADAL" clId="{11E653C8-57AF-47B2-B646-C984C055F00E}" dt="2023-10-24T12:23:05.587" v="250" actId="20577"/>
        <pc:sldMkLst>
          <pc:docMk/>
          <pc:sldMk cId="2928876045" sldId="2146848437"/>
        </pc:sldMkLst>
        <pc:spChg chg="mod">
          <ac:chgData name="Michelle Norney2" userId="3937aebc-2741-4f72-aed9-694b0b032dac" providerId="ADAL" clId="{11E653C8-57AF-47B2-B646-C984C055F00E}" dt="2023-10-24T08:18:03.169" v="53" actId="20577"/>
          <ac:spMkLst>
            <pc:docMk/>
            <pc:sldMk cId="2928876045" sldId="2146848437"/>
            <ac:spMk id="6" creationId="{A2FBC74D-BBCC-56F7-F764-1B1B87CF7879}"/>
          </ac:spMkLst>
        </pc:spChg>
        <pc:spChg chg="mod">
          <ac:chgData name="Michelle Norney2" userId="3937aebc-2741-4f72-aed9-694b0b032dac" providerId="ADAL" clId="{11E653C8-57AF-47B2-B646-C984C055F00E}" dt="2023-10-24T12:23:05.587" v="250" actId="20577"/>
          <ac:spMkLst>
            <pc:docMk/>
            <pc:sldMk cId="2928876045" sldId="2146848437"/>
            <ac:spMk id="12" creationId="{3219A66B-4CB5-36D6-CBA7-01540712D0B5}"/>
          </ac:spMkLst>
        </pc:spChg>
      </pc:sldChg>
      <pc:sldChg chg="addSp delSp modSp mod">
        <pc:chgData name="Michelle Norney2" userId="3937aebc-2741-4f72-aed9-694b0b032dac" providerId="ADAL" clId="{11E653C8-57AF-47B2-B646-C984C055F00E}" dt="2023-10-25T07:45:33.146" v="4647" actId="20577"/>
        <pc:sldMkLst>
          <pc:docMk/>
          <pc:sldMk cId="875208388" sldId="2147471996"/>
        </pc:sldMkLst>
        <pc:spChg chg="mod">
          <ac:chgData name="Michelle Norney2" userId="3937aebc-2741-4f72-aed9-694b0b032dac" providerId="ADAL" clId="{11E653C8-57AF-47B2-B646-C984C055F00E}" dt="2023-10-24T09:33:12.739" v="185" actId="20577"/>
          <ac:spMkLst>
            <pc:docMk/>
            <pc:sldMk cId="875208388" sldId="2147471996"/>
            <ac:spMk id="2" creationId="{3F85F59C-A2EC-295D-B2D3-2401254C9B72}"/>
          </ac:spMkLst>
        </pc:spChg>
        <pc:spChg chg="mod">
          <ac:chgData name="Michelle Norney2" userId="3937aebc-2741-4f72-aed9-694b0b032dac" providerId="ADAL" clId="{11E653C8-57AF-47B2-B646-C984C055F00E}" dt="2023-10-25T07:45:33.146" v="4647" actId="20577"/>
          <ac:spMkLst>
            <pc:docMk/>
            <pc:sldMk cId="875208388" sldId="2147471996"/>
            <ac:spMk id="4" creationId="{2B406FDB-34BD-6F4A-852F-261613E8244B}"/>
          </ac:spMkLst>
        </pc:spChg>
        <pc:spChg chg="del">
          <ac:chgData name="Michelle Norney2" userId="3937aebc-2741-4f72-aed9-694b0b032dac" providerId="ADAL" clId="{11E653C8-57AF-47B2-B646-C984C055F00E}" dt="2023-10-24T09:32:32.376" v="113" actId="478"/>
          <ac:spMkLst>
            <pc:docMk/>
            <pc:sldMk cId="875208388" sldId="2147471996"/>
            <ac:spMk id="10" creationId="{77DEF48C-D98E-4F00-A9AB-6E393D11C543}"/>
          </ac:spMkLst>
        </pc:spChg>
        <pc:spChg chg="del">
          <ac:chgData name="Michelle Norney2" userId="3937aebc-2741-4f72-aed9-694b0b032dac" providerId="ADAL" clId="{11E653C8-57AF-47B2-B646-C984C055F00E}" dt="2023-10-24T09:32:33.273" v="114" actId="478"/>
          <ac:spMkLst>
            <pc:docMk/>
            <pc:sldMk cId="875208388" sldId="2147471996"/>
            <ac:spMk id="14" creationId="{34282D61-3158-B5BF-C9A5-68C643177DAE}"/>
          </ac:spMkLst>
        </pc:spChg>
        <pc:spChg chg="del">
          <ac:chgData name="Michelle Norney2" userId="3937aebc-2741-4f72-aed9-694b0b032dac" providerId="ADAL" clId="{11E653C8-57AF-47B2-B646-C984C055F00E}" dt="2023-10-24T09:32:31.667" v="112" actId="478"/>
          <ac:spMkLst>
            <pc:docMk/>
            <pc:sldMk cId="875208388" sldId="2147471996"/>
            <ac:spMk id="20" creationId="{0C579205-2D17-D44A-A557-ADAB72D613F4}"/>
          </ac:spMkLst>
        </pc:spChg>
        <pc:picChg chg="add mod">
          <ac:chgData name="Michelle Norney2" userId="3937aebc-2741-4f72-aed9-694b0b032dac" providerId="ADAL" clId="{11E653C8-57AF-47B2-B646-C984C055F00E}" dt="2023-10-25T07:45:16.250" v="4611" actId="1076"/>
          <ac:picMkLst>
            <pc:docMk/>
            <pc:sldMk cId="875208388" sldId="2147471996"/>
            <ac:picMk id="3" creationId="{4449CFA8-FE47-EE3D-570B-0C97510EAEE3}"/>
          </ac:picMkLst>
        </pc:picChg>
        <pc:picChg chg="del">
          <ac:chgData name="Michelle Norney2" userId="3937aebc-2741-4f72-aed9-694b0b032dac" providerId="ADAL" clId="{11E653C8-57AF-47B2-B646-C984C055F00E}" dt="2023-10-24T09:32:29.484" v="111" actId="478"/>
          <ac:picMkLst>
            <pc:docMk/>
            <pc:sldMk cId="875208388" sldId="2147471996"/>
            <ac:picMk id="19" creationId="{64E9A677-74DB-FC94-B143-7F2497216B41}"/>
          </ac:picMkLst>
        </pc:picChg>
      </pc:sldChg>
      <pc:sldChg chg="modSp del mod ord">
        <pc:chgData name="Michelle Norney2" userId="3937aebc-2741-4f72-aed9-694b0b032dac" providerId="ADAL" clId="{11E653C8-57AF-47B2-B646-C984C055F00E}" dt="2023-10-24T09:32:37.121" v="115" actId="47"/>
        <pc:sldMkLst>
          <pc:docMk/>
          <pc:sldMk cId="2351302989" sldId="2147472030"/>
        </pc:sldMkLst>
        <pc:spChg chg="mod">
          <ac:chgData name="Michelle Norney2" userId="3937aebc-2741-4f72-aed9-694b0b032dac" providerId="ADAL" clId="{11E653C8-57AF-47B2-B646-C984C055F00E}" dt="2023-10-24T08:18:31.904" v="57" actId="1076"/>
          <ac:spMkLst>
            <pc:docMk/>
            <pc:sldMk cId="2351302989" sldId="2147472030"/>
            <ac:spMk id="3" creationId="{908B6A02-B59F-2101-5AEE-5337AF25D711}"/>
          </ac:spMkLst>
        </pc:spChg>
        <pc:spChg chg="mod">
          <ac:chgData name="Michelle Norney2" userId="3937aebc-2741-4f72-aed9-694b0b032dac" providerId="ADAL" clId="{11E653C8-57AF-47B2-B646-C984C055F00E}" dt="2023-10-24T08:18:29.006" v="56" actId="6549"/>
          <ac:spMkLst>
            <pc:docMk/>
            <pc:sldMk cId="2351302989" sldId="2147472030"/>
            <ac:spMk id="4" creationId="{2B406FDB-34BD-6F4A-852F-261613E8244B}"/>
          </ac:spMkLst>
        </pc:spChg>
      </pc:sldChg>
      <pc:sldChg chg="del">
        <pc:chgData name="Michelle Norney2" userId="3937aebc-2741-4f72-aed9-694b0b032dac" providerId="ADAL" clId="{11E653C8-57AF-47B2-B646-C984C055F00E}" dt="2023-10-24T12:47:02.787" v="1769" actId="47"/>
        <pc:sldMkLst>
          <pc:docMk/>
          <pc:sldMk cId="3807838322" sldId="2147472031"/>
        </pc:sldMkLst>
      </pc:sldChg>
      <pc:sldChg chg="del">
        <pc:chgData name="Michelle Norney2" userId="3937aebc-2741-4f72-aed9-694b0b032dac" providerId="ADAL" clId="{11E653C8-57AF-47B2-B646-C984C055F00E}" dt="2023-10-24T09:32:38.225" v="116" actId="47"/>
        <pc:sldMkLst>
          <pc:docMk/>
          <pc:sldMk cId="2182943186" sldId="2147472032"/>
        </pc:sldMkLst>
      </pc:sldChg>
      <pc:sldChg chg="addSp delSp modSp add mod">
        <pc:chgData name="Michelle Norney2" userId="3937aebc-2741-4f72-aed9-694b0b032dac" providerId="ADAL" clId="{11E653C8-57AF-47B2-B646-C984C055F00E}" dt="2023-10-25T07:42:20.926" v="4393" actId="1076"/>
        <pc:sldMkLst>
          <pc:docMk/>
          <pc:sldMk cId="3262348500" sldId="2147472032"/>
        </pc:sldMkLst>
        <pc:spChg chg="mod">
          <ac:chgData name="Michelle Norney2" userId="3937aebc-2741-4f72-aed9-694b0b032dac" providerId="ADAL" clId="{11E653C8-57AF-47B2-B646-C984C055F00E}" dt="2023-10-24T12:33:04.284" v="1096" actId="13926"/>
          <ac:spMkLst>
            <pc:docMk/>
            <pc:sldMk cId="3262348500" sldId="2147472032"/>
            <ac:spMk id="2" creationId="{3F85F59C-A2EC-295D-B2D3-2401254C9B72}"/>
          </ac:spMkLst>
        </pc:spChg>
        <pc:spChg chg="mod">
          <ac:chgData name="Michelle Norney2" userId="3937aebc-2741-4f72-aed9-694b0b032dac" providerId="ADAL" clId="{11E653C8-57AF-47B2-B646-C984C055F00E}" dt="2023-10-24T12:36:42.576" v="1333" actId="1076"/>
          <ac:spMkLst>
            <pc:docMk/>
            <pc:sldMk cId="3262348500" sldId="2147472032"/>
            <ac:spMk id="4" creationId="{2B406FDB-34BD-6F4A-852F-261613E8244B}"/>
          </ac:spMkLst>
        </pc:spChg>
        <pc:spChg chg="add mod">
          <ac:chgData name="Michelle Norney2" userId="3937aebc-2741-4f72-aed9-694b0b032dac" providerId="ADAL" clId="{11E653C8-57AF-47B2-B646-C984C055F00E}" dt="2023-10-25T07:42:20.926" v="4393" actId="1076"/>
          <ac:spMkLst>
            <pc:docMk/>
            <pc:sldMk cId="3262348500" sldId="2147472032"/>
            <ac:spMk id="6" creationId="{3C8062D0-3B8E-BB39-747D-65AB889EF791}"/>
          </ac:spMkLst>
        </pc:spChg>
        <pc:spChg chg="add mod">
          <ac:chgData name="Michelle Norney2" userId="3937aebc-2741-4f72-aed9-694b0b032dac" providerId="ADAL" clId="{11E653C8-57AF-47B2-B646-C984C055F00E}" dt="2023-10-24T12:37:22.875" v="1401" actId="20577"/>
          <ac:spMkLst>
            <pc:docMk/>
            <pc:sldMk cId="3262348500" sldId="2147472032"/>
            <ac:spMk id="7" creationId="{7D856D3E-573D-6E4F-FA15-95884CA81DB6}"/>
          </ac:spMkLst>
        </pc:spChg>
        <pc:spChg chg="add mod">
          <ac:chgData name="Michelle Norney2" userId="3937aebc-2741-4f72-aed9-694b0b032dac" providerId="ADAL" clId="{11E653C8-57AF-47B2-B646-C984C055F00E}" dt="2023-10-24T12:34:31.645" v="1104" actId="164"/>
          <ac:spMkLst>
            <pc:docMk/>
            <pc:sldMk cId="3262348500" sldId="2147472032"/>
            <ac:spMk id="9" creationId="{1736A334-AA65-B855-1BD9-0854742A779B}"/>
          </ac:spMkLst>
        </pc:spChg>
        <pc:spChg chg="add mod">
          <ac:chgData name="Michelle Norney2" userId="3937aebc-2741-4f72-aed9-694b0b032dac" providerId="ADAL" clId="{11E653C8-57AF-47B2-B646-C984C055F00E}" dt="2023-10-24T12:36:25.636" v="1332" actId="1582"/>
          <ac:spMkLst>
            <pc:docMk/>
            <pc:sldMk cId="3262348500" sldId="2147472032"/>
            <ac:spMk id="11" creationId="{24861C2F-A124-EEC5-E3CB-C1A9AB2ED271}"/>
          </ac:spMkLst>
        </pc:spChg>
        <pc:spChg chg="add mod">
          <ac:chgData name="Michelle Norney2" userId="3937aebc-2741-4f72-aed9-694b0b032dac" providerId="ADAL" clId="{11E653C8-57AF-47B2-B646-C984C055F00E}" dt="2023-10-24T12:37:08.212" v="1359" actId="14100"/>
          <ac:spMkLst>
            <pc:docMk/>
            <pc:sldMk cId="3262348500" sldId="2147472032"/>
            <ac:spMk id="13" creationId="{419155E8-1193-6669-F0B6-DF063A90C672}"/>
          </ac:spMkLst>
        </pc:spChg>
        <pc:grpChg chg="add mod">
          <ac:chgData name="Michelle Norney2" userId="3937aebc-2741-4f72-aed9-694b0b032dac" providerId="ADAL" clId="{11E653C8-57AF-47B2-B646-C984C055F00E}" dt="2023-10-24T12:34:31.645" v="1104" actId="164"/>
          <ac:grpSpMkLst>
            <pc:docMk/>
            <pc:sldMk cId="3262348500" sldId="2147472032"/>
            <ac:grpSpMk id="10" creationId="{28AFAE93-16FB-9721-7F95-D5C0E90A3305}"/>
          </ac:grpSpMkLst>
        </pc:grpChg>
        <pc:picChg chg="del">
          <ac:chgData name="Michelle Norney2" userId="3937aebc-2741-4f72-aed9-694b0b032dac" providerId="ADAL" clId="{11E653C8-57AF-47B2-B646-C984C055F00E}" dt="2023-10-24T12:28:16.214" v="819" actId="478"/>
          <ac:picMkLst>
            <pc:docMk/>
            <pc:sldMk cId="3262348500" sldId="2147472032"/>
            <ac:picMk id="3" creationId="{4449CFA8-FE47-EE3D-570B-0C97510EAEE3}"/>
          </ac:picMkLst>
        </pc:picChg>
        <pc:picChg chg="add mod">
          <ac:chgData name="Michelle Norney2" userId="3937aebc-2741-4f72-aed9-694b0b032dac" providerId="ADAL" clId="{11E653C8-57AF-47B2-B646-C984C055F00E}" dt="2023-10-24T12:33:15.498" v="1099" actId="1076"/>
          <ac:picMkLst>
            <pc:docMk/>
            <pc:sldMk cId="3262348500" sldId="2147472032"/>
            <ac:picMk id="5" creationId="{2AD23D8E-359E-C818-8C3C-2542FD844822}"/>
          </ac:picMkLst>
        </pc:picChg>
        <pc:picChg chg="add mod">
          <ac:chgData name="Michelle Norney2" userId="3937aebc-2741-4f72-aed9-694b0b032dac" providerId="ADAL" clId="{11E653C8-57AF-47B2-B646-C984C055F00E}" dt="2023-10-24T12:34:31.645" v="1104" actId="164"/>
          <ac:picMkLst>
            <pc:docMk/>
            <pc:sldMk cId="3262348500" sldId="2147472032"/>
            <ac:picMk id="8" creationId="{65CB2826-C9F0-9304-B119-29D0E703F72F}"/>
          </ac:picMkLst>
        </pc:picChg>
      </pc:sldChg>
      <pc:sldChg chg="addSp delSp modSp add mod">
        <pc:chgData name="Michelle Norney2" userId="3937aebc-2741-4f72-aed9-694b0b032dac" providerId="ADAL" clId="{11E653C8-57AF-47B2-B646-C984C055F00E}" dt="2023-10-25T07:50:35.400" v="4991" actId="1076"/>
        <pc:sldMkLst>
          <pc:docMk/>
          <pc:sldMk cId="641916557" sldId="2147472033"/>
        </pc:sldMkLst>
        <pc:spChg chg="del">
          <ac:chgData name="Michelle Norney2" userId="3937aebc-2741-4f72-aed9-694b0b032dac" providerId="ADAL" clId="{11E653C8-57AF-47B2-B646-C984C055F00E}" dt="2023-10-24T12:38:05.229" v="1410" actId="478"/>
          <ac:spMkLst>
            <pc:docMk/>
            <pc:sldMk cId="641916557" sldId="2147472033"/>
            <ac:spMk id="4" creationId="{2B406FDB-34BD-6F4A-852F-261613E8244B}"/>
          </ac:spMkLst>
        </pc:spChg>
        <pc:spChg chg="add mod">
          <ac:chgData name="Michelle Norney2" userId="3937aebc-2741-4f72-aed9-694b0b032dac" providerId="ADAL" clId="{11E653C8-57AF-47B2-B646-C984C055F00E}" dt="2023-10-25T07:50:13.199" v="4983" actId="1076"/>
          <ac:spMkLst>
            <pc:docMk/>
            <pc:sldMk cId="641916557" sldId="2147472033"/>
            <ac:spMk id="5" creationId="{29A43F0E-8523-4C14-FAF1-1DB98F11E1A5}"/>
          </ac:spMkLst>
        </pc:spChg>
        <pc:spChg chg="del">
          <ac:chgData name="Michelle Norney2" userId="3937aebc-2741-4f72-aed9-694b0b032dac" providerId="ADAL" clId="{11E653C8-57AF-47B2-B646-C984C055F00E}" dt="2023-10-24T12:38:01.276" v="1409" actId="478"/>
          <ac:spMkLst>
            <pc:docMk/>
            <pc:sldMk cId="641916557" sldId="2147472033"/>
            <ac:spMk id="6" creationId="{3C8062D0-3B8E-BB39-747D-65AB889EF791}"/>
          </ac:spMkLst>
        </pc:spChg>
        <pc:spChg chg="add mod">
          <ac:chgData name="Michelle Norney2" userId="3937aebc-2741-4f72-aed9-694b0b032dac" providerId="ADAL" clId="{11E653C8-57AF-47B2-B646-C984C055F00E}" dt="2023-10-25T07:49:13.489" v="4887" actId="6549"/>
          <ac:spMkLst>
            <pc:docMk/>
            <pc:sldMk cId="641916557" sldId="2147472033"/>
            <ac:spMk id="6" creationId="{DA9CD85E-2AF6-E4B3-FE7F-8C69C572C4AA}"/>
          </ac:spMkLst>
        </pc:spChg>
        <pc:spChg chg="mod">
          <ac:chgData name="Michelle Norney2" userId="3937aebc-2741-4f72-aed9-694b0b032dac" providerId="ADAL" clId="{11E653C8-57AF-47B2-B646-C984C055F00E}" dt="2023-10-25T07:50:15.750" v="4984" actId="14100"/>
          <ac:spMkLst>
            <pc:docMk/>
            <pc:sldMk cId="641916557" sldId="2147472033"/>
            <ac:spMk id="7" creationId="{7D856D3E-573D-6E4F-FA15-95884CA81DB6}"/>
          </ac:spMkLst>
        </pc:spChg>
        <pc:spChg chg="del mod">
          <ac:chgData name="Michelle Norney2" userId="3937aebc-2741-4f72-aed9-694b0b032dac" providerId="ADAL" clId="{11E653C8-57AF-47B2-B646-C984C055F00E}" dt="2023-10-24T12:47:11.984" v="1773" actId="478"/>
          <ac:spMkLst>
            <pc:docMk/>
            <pc:sldMk cId="641916557" sldId="2147472033"/>
            <ac:spMk id="11" creationId="{24861C2F-A124-EEC5-E3CB-C1A9AB2ED271}"/>
          </ac:spMkLst>
        </pc:spChg>
        <pc:spChg chg="add mod">
          <ac:chgData name="Michelle Norney2" userId="3937aebc-2741-4f72-aed9-694b0b032dac" providerId="ADAL" clId="{11E653C8-57AF-47B2-B646-C984C055F00E}" dt="2023-10-25T07:50:35.400" v="4991" actId="1076"/>
          <ac:spMkLst>
            <pc:docMk/>
            <pc:sldMk cId="641916557" sldId="2147472033"/>
            <ac:spMk id="12" creationId="{E4CFF6F2-1216-DA89-26D4-BCA8A5FAD47A}"/>
          </ac:spMkLst>
        </pc:spChg>
        <pc:spChg chg="del">
          <ac:chgData name="Michelle Norney2" userId="3937aebc-2741-4f72-aed9-694b0b032dac" providerId="ADAL" clId="{11E653C8-57AF-47B2-B646-C984C055F00E}" dt="2023-10-24T12:46:17.584" v="1685" actId="478"/>
          <ac:spMkLst>
            <pc:docMk/>
            <pc:sldMk cId="641916557" sldId="2147472033"/>
            <ac:spMk id="13" creationId="{419155E8-1193-6669-F0B6-DF063A90C672}"/>
          </ac:spMkLst>
        </pc:spChg>
        <pc:spChg chg="add mod">
          <ac:chgData name="Michelle Norney2" userId="3937aebc-2741-4f72-aed9-694b0b032dac" providerId="ADAL" clId="{11E653C8-57AF-47B2-B646-C984C055F00E}" dt="2023-10-25T07:50:32.123" v="4990" actId="1076"/>
          <ac:spMkLst>
            <pc:docMk/>
            <pc:sldMk cId="641916557" sldId="2147472033"/>
            <ac:spMk id="14" creationId="{7165FB99-0F55-2047-3EA9-9E265136EA9A}"/>
          </ac:spMkLst>
        </pc:spChg>
        <pc:grpChg chg="del">
          <ac:chgData name="Michelle Norney2" userId="3937aebc-2741-4f72-aed9-694b0b032dac" providerId="ADAL" clId="{11E653C8-57AF-47B2-B646-C984C055F00E}" dt="2023-10-24T12:37:49.868" v="1405" actId="478"/>
          <ac:grpSpMkLst>
            <pc:docMk/>
            <pc:sldMk cId="641916557" sldId="2147472033"/>
            <ac:grpSpMk id="10" creationId="{28AFAE93-16FB-9721-7F95-D5C0E90A3305}"/>
          </ac:grpSpMkLst>
        </pc:grpChg>
        <pc:picChg chg="add mod modCrop">
          <ac:chgData name="Michelle Norney2" userId="3937aebc-2741-4f72-aed9-694b0b032dac" providerId="ADAL" clId="{11E653C8-57AF-47B2-B646-C984C055F00E}" dt="2023-10-25T07:50:28.553" v="4989" actId="1076"/>
          <ac:picMkLst>
            <pc:docMk/>
            <pc:sldMk cId="641916557" sldId="2147472033"/>
            <ac:picMk id="3" creationId="{068DE810-93BE-8A8B-0544-B79D1DFEAB88}"/>
          </ac:picMkLst>
        </pc:picChg>
        <pc:picChg chg="del mod">
          <ac:chgData name="Michelle Norney2" userId="3937aebc-2741-4f72-aed9-694b0b032dac" providerId="ADAL" clId="{11E653C8-57AF-47B2-B646-C984C055F00E}" dt="2023-10-24T12:37:49.211" v="1404" actId="478"/>
          <ac:picMkLst>
            <pc:docMk/>
            <pc:sldMk cId="641916557" sldId="2147472033"/>
            <ac:picMk id="5" creationId="{2AD23D8E-359E-C818-8C3C-2542FD844822}"/>
          </ac:picMkLst>
        </pc:picChg>
      </pc:sldChg>
      <pc:sldChg chg="del">
        <pc:chgData name="Michelle Norney2" userId="3937aebc-2741-4f72-aed9-694b0b032dac" providerId="ADAL" clId="{11E653C8-57AF-47B2-B646-C984C055F00E}" dt="2023-10-24T09:32:38.802" v="117" actId="47"/>
        <pc:sldMkLst>
          <pc:docMk/>
          <pc:sldMk cId="1837342077" sldId="2147472033"/>
        </pc:sldMkLst>
      </pc:sldChg>
      <pc:sldChg chg="addSp delSp modSp add mod">
        <pc:chgData name="Michelle Norney2" userId="3937aebc-2741-4f72-aed9-694b0b032dac" providerId="ADAL" clId="{11E653C8-57AF-47B2-B646-C984C055F00E}" dt="2023-10-25T07:43:42.022" v="4404" actId="13926"/>
        <pc:sldMkLst>
          <pc:docMk/>
          <pc:sldMk cId="56409937" sldId="2147472034"/>
        </pc:sldMkLst>
        <pc:spChg chg="add mod">
          <ac:chgData name="Michelle Norney2" userId="3937aebc-2741-4f72-aed9-694b0b032dac" providerId="ADAL" clId="{11E653C8-57AF-47B2-B646-C984C055F00E}" dt="2023-10-25T07:43:32.798" v="4403" actId="207"/>
          <ac:spMkLst>
            <pc:docMk/>
            <pc:sldMk cId="56409937" sldId="2147472034"/>
            <ac:spMk id="3" creationId="{BBED47EB-96B4-82C3-7DE9-866F72FD99FA}"/>
          </ac:spMkLst>
        </pc:spChg>
        <pc:spChg chg="add mod">
          <ac:chgData name="Michelle Norney2" userId="3937aebc-2741-4f72-aed9-694b0b032dac" providerId="ADAL" clId="{11E653C8-57AF-47B2-B646-C984C055F00E}" dt="2023-10-24T12:56:43.685" v="2094" actId="1076"/>
          <ac:spMkLst>
            <pc:docMk/>
            <pc:sldMk cId="56409937" sldId="2147472034"/>
            <ac:spMk id="5" creationId="{C2360E16-E12B-923E-715C-64F55C485B85}"/>
          </ac:spMkLst>
        </pc:spChg>
        <pc:spChg chg="add mod">
          <ac:chgData name="Michelle Norney2" userId="3937aebc-2741-4f72-aed9-694b0b032dac" providerId="ADAL" clId="{11E653C8-57AF-47B2-B646-C984C055F00E}" dt="2023-10-24T12:56:52.858" v="2097" actId="1076"/>
          <ac:spMkLst>
            <pc:docMk/>
            <pc:sldMk cId="56409937" sldId="2147472034"/>
            <ac:spMk id="6" creationId="{BBE0FD7E-E04B-59AE-F9D1-36EF27EF584E}"/>
          </ac:spMkLst>
        </pc:spChg>
        <pc:spChg chg="mod">
          <ac:chgData name="Michelle Norney2" userId="3937aebc-2741-4f72-aed9-694b0b032dac" providerId="ADAL" clId="{11E653C8-57AF-47B2-B646-C984C055F00E}" dt="2023-10-25T07:42:55.977" v="4394" actId="13926"/>
          <ac:spMkLst>
            <pc:docMk/>
            <pc:sldMk cId="56409937" sldId="2147472034"/>
            <ac:spMk id="7" creationId="{7D856D3E-573D-6E4F-FA15-95884CA81DB6}"/>
          </ac:spMkLst>
        </pc:spChg>
        <pc:spChg chg="add mod">
          <ac:chgData name="Michelle Norney2" userId="3937aebc-2741-4f72-aed9-694b0b032dac" providerId="ADAL" clId="{11E653C8-57AF-47B2-B646-C984C055F00E}" dt="2023-10-24T12:56:47.706" v="2095" actId="1076"/>
          <ac:spMkLst>
            <pc:docMk/>
            <pc:sldMk cId="56409937" sldId="2147472034"/>
            <ac:spMk id="9" creationId="{E1C0E660-967B-2E9D-22FD-A6D0E5FBCE4A}"/>
          </ac:spMkLst>
        </pc:spChg>
        <pc:spChg chg="add mod">
          <ac:chgData name="Michelle Norney2" userId="3937aebc-2741-4f72-aed9-694b0b032dac" providerId="ADAL" clId="{11E653C8-57AF-47B2-B646-C984C055F00E}" dt="2023-10-24T12:58:19.944" v="2150" actId="1076"/>
          <ac:spMkLst>
            <pc:docMk/>
            <pc:sldMk cId="56409937" sldId="2147472034"/>
            <ac:spMk id="10" creationId="{2250BC45-D8EE-5078-E762-2BB862A6BB43}"/>
          </ac:spMkLst>
        </pc:spChg>
        <pc:spChg chg="del">
          <ac:chgData name="Michelle Norney2" userId="3937aebc-2741-4f72-aed9-694b0b032dac" providerId="ADAL" clId="{11E653C8-57AF-47B2-B646-C984C055F00E}" dt="2023-10-24T12:47:15.042" v="1774" actId="478"/>
          <ac:spMkLst>
            <pc:docMk/>
            <pc:sldMk cId="56409937" sldId="2147472034"/>
            <ac:spMk id="11" creationId="{24861C2F-A124-EEC5-E3CB-C1A9AB2ED271}"/>
          </ac:spMkLst>
        </pc:spChg>
        <pc:spChg chg="del mod">
          <ac:chgData name="Michelle Norney2" userId="3937aebc-2741-4f72-aed9-694b0b032dac" providerId="ADAL" clId="{11E653C8-57AF-47B2-B646-C984C055F00E}" dt="2023-10-24T12:47:15.992" v="1775" actId="478"/>
          <ac:spMkLst>
            <pc:docMk/>
            <pc:sldMk cId="56409937" sldId="2147472034"/>
            <ac:spMk id="12" creationId="{E4CFF6F2-1216-DA89-26D4-BCA8A5FAD47A}"/>
          </ac:spMkLst>
        </pc:spChg>
        <pc:spChg chg="del">
          <ac:chgData name="Michelle Norney2" userId="3937aebc-2741-4f72-aed9-694b0b032dac" providerId="ADAL" clId="{11E653C8-57AF-47B2-B646-C984C055F00E}" dt="2023-10-24T12:47:16.897" v="1776" actId="478"/>
          <ac:spMkLst>
            <pc:docMk/>
            <pc:sldMk cId="56409937" sldId="2147472034"/>
            <ac:spMk id="14" creationId="{7165FB99-0F55-2047-3EA9-9E265136EA9A}"/>
          </ac:spMkLst>
        </pc:spChg>
        <pc:spChg chg="add mod">
          <ac:chgData name="Michelle Norney2" userId="3937aebc-2741-4f72-aed9-694b0b032dac" providerId="ADAL" clId="{11E653C8-57AF-47B2-B646-C984C055F00E}" dt="2023-10-25T07:43:42.022" v="4404" actId="13926"/>
          <ac:spMkLst>
            <pc:docMk/>
            <pc:sldMk cId="56409937" sldId="2147472034"/>
            <ac:spMk id="15" creationId="{BC8C4459-C7BE-D372-15E0-0637FAAC51C0}"/>
          </ac:spMkLst>
        </pc:spChg>
        <pc:spChg chg="add mod">
          <ac:chgData name="Michelle Norney2" userId="3937aebc-2741-4f72-aed9-694b0b032dac" providerId="ADAL" clId="{11E653C8-57AF-47B2-B646-C984C055F00E}" dt="2023-10-24T12:59:15.419" v="2218" actId="13926"/>
          <ac:spMkLst>
            <pc:docMk/>
            <pc:sldMk cId="56409937" sldId="2147472034"/>
            <ac:spMk id="16" creationId="{5084D9EB-4A8C-B604-7728-F1991CA40AE0}"/>
          </ac:spMkLst>
        </pc:spChg>
        <pc:picChg chg="del">
          <ac:chgData name="Michelle Norney2" userId="3937aebc-2741-4f72-aed9-694b0b032dac" providerId="ADAL" clId="{11E653C8-57AF-47B2-B646-C984C055F00E}" dt="2023-10-24T12:47:07.939" v="1771" actId="478"/>
          <ac:picMkLst>
            <pc:docMk/>
            <pc:sldMk cId="56409937" sldId="2147472034"/>
            <ac:picMk id="3" creationId="{068DE810-93BE-8A8B-0544-B79D1DFEAB88}"/>
          </ac:picMkLst>
        </pc:picChg>
        <pc:picChg chg="add mod modCrop">
          <ac:chgData name="Michelle Norney2" userId="3937aebc-2741-4f72-aed9-694b0b032dac" providerId="ADAL" clId="{11E653C8-57AF-47B2-B646-C984C055F00E}" dt="2023-10-25T07:43:25.613" v="4401" actId="207"/>
          <ac:picMkLst>
            <pc:docMk/>
            <pc:sldMk cId="56409937" sldId="2147472034"/>
            <ac:picMk id="4" creationId="{4BEFC6C1-1079-C300-4A23-D4B06DF499D0}"/>
          </ac:picMkLst>
        </pc:picChg>
        <pc:picChg chg="add mod">
          <ac:chgData name="Michelle Norney2" userId="3937aebc-2741-4f72-aed9-694b0b032dac" providerId="ADAL" clId="{11E653C8-57AF-47B2-B646-C984C055F00E}" dt="2023-10-24T12:58:16.067" v="2148" actId="1076"/>
          <ac:picMkLst>
            <pc:docMk/>
            <pc:sldMk cId="56409937" sldId="2147472034"/>
            <ac:picMk id="8" creationId="{49E075C2-1D80-5590-2211-A432786045DC}"/>
          </ac:picMkLst>
        </pc:picChg>
        <pc:picChg chg="add mod">
          <ac:chgData name="Michelle Norney2" userId="3937aebc-2741-4f72-aed9-694b0b032dac" providerId="ADAL" clId="{11E653C8-57AF-47B2-B646-C984C055F00E}" dt="2023-10-24T12:58:17.986" v="2149" actId="1076"/>
          <ac:picMkLst>
            <pc:docMk/>
            <pc:sldMk cId="56409937" sldId="2147472034"/>
            <ac:picMk id="13" creationId="{5EEEAE85-9D1E-454E-CC19-2B7219A4C996}"/>
          </ac:picMkLst>
        </pc:picChg>
      </pc:sldChg>
      <pc:sldChg chg="del">
        <pc:chgData name="Michelle Norney2" userId="3937aebc-2741-4f72-aed9-694b0b032dac" providerId="ADAL" clId="{11E653C8-57AF-47B2-B646-C984C055F00E}" dt="2023-10-24T09:32:45.250" v="121" actId="47"/>
        <pc:sldMkLst>
          <pc:docMk/>
          <pc:sldMk cId="3234322584" sldId="2147472034"/>
        </pc:sldMkLst>
      </pc:sldChg>
      <pc:sldChg chg="addSp delSp modSp add mod">
        <pc:chgData name="Michelle Norney2" userId="3937aebc-2741-4f72-aed9-694b0b032dac" providerId="ADAL" clId="{11E653C8-57AF-47B2-B646-C984C055F00E}" dt="2023-10-24T13:16:32.286" v="3158" actId="1036"/>
        <pc:sldMkLst>
          <pc:docMk/>
          <pc:sldMk cId="1542203836" sldId="2147472035"/>
        </pc:sldMkLst>
        <pc:spChg chg="add mod">
          <ac:chgData name="Michelle Norney2" userId="3937aebc-2741-4f72-aed9-694b0b032dac" providerId="ADAL" clId="{11E653C8-57AF-47B2-B646-C984C055F00E}" dt="2023-10-24T13:16:32.286" v="3158" actId="1036"/>
          <ac:spMkLst>
            <pc:docMk/>
            <pc:sldMk cId="1542203836" sldId="2147472035"/>
            <ac:spMk id="3" creationId="{82B63E47-0A17-DE7F-CF1B-7DFBB76363D1}"/>
          </ac:spMkLst>
        </pc:spChg>
        <pc:spChg chg="mod">
          <ac:chgData name="Michelle Norney2" userId="3937aebc-2741-4f72-aed9-694b0b032dac" providerId="ADAL" clId="{11E653C8-57AF-47B2-B646-C984C055F00E}" dt="2023-10-24T13:15:08.431" v="3132" actId="1038"/>
          <ac:spMkLst>
            <pc:docMk/>
            <pc:sldMk cId="1542203836" sldId="2147472035"/>
            <ac:spMk id="5" creationId="{C2360E16-E12B-923E-715C-64F55C485B85}"/>
          </ac:spMkLst>
        </pc:spChg>
        <pc:spChg chg="mod">
          <ac:chgData name="Michelle Norney2" userId="3937aebc-2741-4f72-aed9-694b0b032dac" providerId="ADAL" clId="{11E653C8-57AF-47B2-B646-C984C055F00E}" dt="2023-10-24T13:16:32.286" v="3158" actId="1036"/>
          <ac:spMkLst>
            <pc:docMk/>
            <pc:sldMk cId="1542203836" sldId="2147472035"/>
            <ac:spMk id="6" creationId="{BBE0FD7E-E04B-59AE-F9D1-36EF27EF584E}"/>
          </ac:spMkLst>
        </pc:spChg>
        <pc:spChg chg="mod">
          <ac:chgData name="Michelle Norney2" userId="3937aebc-2741-4f72-aed9-694b0b032dac" providerId="ADAL" clId="{11E653C8-57AF-47B2-B646-C984C055F00E}" dt="2023-10-24T13:16:32.286" v="3158" actId="1036"/>
          <ac:spMkLst>
            <pc:docMk/>
            <pc:sldMk cId="1542203836" sldId="2147472035"/>
            <ac:spMk id="7" creationId="{7D856D3E-573D-6E4F-FA15-95884CA81DB6}"/>
          </ac:spMkLst>
        </pc:spChg>
        <pc:spChg chg="mod">
          <ac:chgData name="Michelle Norney2" userId="3937aebc-2741-4f72-aed9-694b0b032dac" providerId="ADAL" clId="{11E653C8-57AF-47B2-B646-C984C055F00E}" dt="2023-10-24T13:15:08.431" v="3132" actId="1038"/>
          <ac:spMkLst>
            <pc:docMk/>
            <pc:sldMk cId="1542203836" sldId="2147472035"/>
            <ac:spMk id="9" creationId="{E1C0E660-967B-2E9D-22FD-A6D0E5FBCE4A}"/>
          </ac:spMkLst>
        </pc:spChg>
        <pc:spChg chg="del">
          <ac:chgData name="Michelle Norney2" userId="3937aebc-2741-4f72-aed9-694b0b032dac" providerId="ADAL" clId="{11E653C8-57AF-47B2-B646-C984C055F00E}" dt="2023-10-24T13:00:35.031" v="2272" actId="478"/>
          <ac:spMkLst>
            <pc:docMk/>
            <pc:sldMk cId="1542203836" sldId="2147472035"/>
            <ac:spMk id="10" creationId="{2250BC45-D8EE-5078-E762-2BB862A6BB43}"/>
          </ac:spMkLst>
        </pc:spChg>
        <pc:spChg chg="add mod">
          <ac:chgData name="Michelle Norney2" userId="3937aebc-2741-4f72-aed9-694b0b032dac" providerId="ADAL" clId="{11E653C8-57AF-47B2-B646-C984C055F00E}" dt="2023-10-24T13:15:08.431" v="3132" actId="1038"/>
          <ac:spMkLst>
            <pc:docMk/>
            <pc:sldMk cId="1542203836" sldId="2147472035"/>
            <ac:spMk id="11" creationId="{695ED876-B17B-003D-F6D6-E04361F0322C}"/>
          </ac:spMkLst>
        </pc:spChg>
        <pc:spChg chg="add mod">
          <ac:chgData name="Michelle Norney2" userId="3937aebc-2741-4f72-aed9-694b0b032dac" providerId="ADAL" clId="{11E653C8-57AF-47B2-B646-C984C055F00E}" dt="2023-10-24T13:16:32.286" v="3158" actId="1036"/>
          <ac:spMkLst>
            <pc:docMk/>
            <pc:sldMk cId="1542203836" sldId="2147472035"/>
            <ac:spMk id="12" creationId="{274EF8DD-3DA7-5D33-6BD7-CD550AE9AF66}"/>
          </ac:spMkLst>
        </pc:spChg>
        <pc:spChg chg="del mod">
          <ac:chgData name="Michelle Norney2" userId="3937aebc-2741-4f72-aed9-694b0b032dac" providerId="ADAL" clId="{11E653C8-57AF-47B2-B646-C984C055F00E}" dt="2023-10-24T13:00:31.848" v="2269"/>
          <ac:spMkLst>
            <pc:docMk/>
            <pc:sldMk cId="1542203836" sldId="2147472035"/>
            <ac:spMk id="15" creationId="{BC8C4459-C7BE-D372-15E0-0637FAAC51C0}"/>
          </ac:spMkLst>
        </pc:spChg>
        <pc:spChg chg="del">
          <ac:chgData name="Michelle Norney2" userId="3937aebc-2741-4f72-aed9-694b0b032dac" providerId="ADAL" clId="{11E653C8-57AF-47B2-B646-C984C055F00E}" dt="2023-10-24T13:00:33.488" v="2270" actId="478"/>
          <ac:spMkLst>
            <pc:docMk/>
            <pc:sldMk cId="1542203836" sldId="2147472035"/>
            <ac:spMk id="16" creationId="{5084D9EB-4A8C-B604-7728-F1991CA40AE0}"/>
          </ac:spMkLst>
        </pc:spChg>
        <pc:spChg chg="add mod">
          <ac:chgData name="Michelle Norney2" userId="3937aebc-2741-4f72-aed9-694b0b032dac" providerId="ADAL" clId="{11E653C8-57AF-47B2-B646-C984C055F00E}" dt="2023-10-24T13:16:32.286" v="3158" actId="1036"/>
          <ac:spMkLst>
            <pc:docMk/>
            <pc:sldMk cId="1542203836" sldId="2147472035"/>
            <ac:spMk id="18" creationId="{8FEA8840-B043-F1FA-BE0D-E8414FA7C513}"/>
          </ac:spMkLst>
        </pc:spChg>
        <pc:spChg chg="add mod">
          <ac:chgData name="Michelle Norney2" userId="3937aebc-2741-4f72-aed9-694b0b032dac" providerId="ADAL" clId="{11E653C8-57AF-47B2-B646-C984C055F00E}" dt="2023-10-24T13:15:23.385" v="3136" actId="1076"/>
          <ac:spMkLst>
            <pc:docMk/>
            <pc:sldMk cId="1542203836" sldId="2147472035"/>
            <ac:spMk id="19" creationId="{E37FB0AC-2DA7-EC1F-8BA1-F074BE10234B}"/>
          </ac:spMkLst>
        </pc:spChg>
        <pc:spChg chg="add del mod">
          <ac:chgData name="Michelle Norney2" userId="3937aebc-2741-4f72-aed9-694b0b032dac" providerId="ADAL" clId="{11E653C8-57AF-47B2-B646-C984C055F00E}" dt="2023-10-24T13:14:47.038" v="3071" actId="478"/>
          <ac:spMkLst>
            <pc:docMk/>
            <pc:sldMk cId="1542203836" sldId="2147472035"/>
            <ac:spMk id="22" creationId="{B70017F2-1B35-E915-B464-2EB1BF27A821}"/>
          </ac:spMkLst>
        </pc:spChg>
        <pc:spChg chg="add mod">
          <ac:chgData name="Michelle Norney2" userId="3937aebc-2741-4f72-aed9-694b0b032dac" providerId="ADAL" clId="{11E653C8-57AF-47B2-B646-C984C055F00E}" dt="2023-10-24T13:16:32.286" v="3158" actId="1036"/>
          <ac:spMkLst>
            <pc:docMk/>
            <pc:sldMk cId="1542203836" sldId="2147472035"/>
            <ac:spMk id="24" creationId="{5EF53451-875F-B051-FED2-8E8F081035B5}"/>
          </ac:spMkLst>
        </pc:spChg>
        <pc:spChg chg="add del mod">
          <ac:chgData name="Michelle Norney2" userId="3937aebc-2741-4f72-aed9-694b0b032dac" providerId="ADAL" clId="{11E653C8-57AF-47B2-B646-C984C055F00E}" dt="2023-10-24T13:14:47.038" v="3071" actId="478"/>
          <ac:spMkLst>
            <pc:docMk/>
            <pc:sldMk cId="1542203836" sldId="2147472035"/>
            <ac:spMk id="25" creationId="{13F0C823-04DB-5AC4-711B-E906953C6DFE}"/>
          </ac:spMkLst>
        </pc:spChg>
        <pc:spChg chg="add del mod">
          <ac:chgData name="Michelle Norney2" userId="3937aebc-2741-4f72-aed9-694b0b032dac" providerId="ADAL" clId="{11E653C8-57AF-47B2-B646-C984C055F00E}" dt="2023-10-24T13:14:47.038" v="3071" actId="478"/>
          <ac:spMkLst>
            <pc:docMk/>
            <pc:sldMk cId="1542203836" sldId="2147472035"/>
            <ac:spMk id="26" creationId="{A53A3501-BBFF-25C3-051A-FAD158D95253}"/>
          </ac:spMkLst>
        </pc:spChg>
        <pc:spChg chg="add del mod">
          <ac:chgData name="Michelle Norney2" userId="3937aebc-2741-4f72-aed9-694b0b032dac" providerId="ADAL" clId="{11E653C8-57AF-47B2-B646-C984C055F00E}" dt="2023-10-24T13:14:47.038" v="3071" actId="478"/>
          <ac:spMkLst>
            <pc:docMk/>
            <pc:sldMk cId="1542203836" sldId="2147472035"/>
            <ac:spMk id="27" creationId="{F32057CE-2681-A3E7-1DB5-7715FF7E93EC}"/>
          </ac:spMkLst>
        </pc:spChg>
        <pc:spChg chg="add del mod">
          <ac:chgData name="Michelle Norney2" userId="3937aebc-2741-4f72-aed9-694b0b032dac" providerId="ADAL" clId="{11E653C8-57AF-47B2-B646-C984C055F00E}" dt="2023-10-24T13:14:47.038" v="3071" actId="478"/>
          <ac:spMkLst>
            <pc:docMk/>
            <pc:sldMk cId="1542203836" sldId="2147472035"/>
            <ac:spMk id="30" creationId="{3CBA916C-12C1-BF1E-70BE-0E75D38FC987}"/>
          </ac:spMkLst>
        </pc:spChg>
        <pc:spChg chg="add del mod">
          <ac:chgData name="Michelle Norney2" userId="3937aebc-2741-4f72-aed9-694b0b032dac" providerId="ADAL" clId="{11E653C8-57AF-47B2-B646-C984C055F00E}" dt="2023-10-24T13:14:47.038" v="3071" actId="478"/>
          <ac:spMkLst>
            <pc:docMk/>
            <pc:sldMk cId="1542203836" sldId="2147472035"/>
            <ac:spMk id="31" creationId="{993636DC-3CC7-D044-CD76-CAD2CF7B2CB4}"/>
          </ac:spMkLst>
        </pc:spChg>
        <pc:picChg chg="mod">
          <ac:chgData name="Michelle Norney2" userId="3937aebc-2741-4f72-aed9-694b0b032dac" providerId="ADAL" clId="{11E653C8-57AF-47B2-B646-C984C055F00E}" dt="2023-10-24T13:15:08.431" v="3132" actId="1038"/>
          <ac:picMkLst>
            <pc:docMk/>
            <pc:sldMk cId="1542203836" sldId="2147472035"/>
            <ac:picMk id="4" creationId="{4BEFC6C1-1079-C300-4A23-D4B06DF499D0}"/>
          </ac:picMkLst>
        </pc:picChg>
        <pc:picChg chg="del">
          <ac:chgData name="Michelle Norney2" userId="3937aebc-2741-4f72-aed9-694b0b032dac" providerId="ADAL" clId="{11E653C8-57AF-47B2-B646-C984C055F00E}" dt="2023-10-24T13:00:31.846" v="2267" actId="478"/>
          <ac:picMkLst>
            <pc:docMk/>
            <pc:sldMk cId="1542203836" sldId="2147472035"/>
            <ac:picMk id="8" creationId="{49E075C2-1D80-5590-2211-A432786045DC}"/>
          </ac:picMkLst>
        </pc:picChg>
        <pc:picChg chg="del">
          <ac:chgData name="Michelle Norney2" userId="3937aebc-2741-4f72-aed9-694b0b032dac" providerId="ADAL" clId="{11E653C8-57AF-47B2-B646-C984C055F00E}" dt="2023-10-24T13:00:34.046" v="2271" actId="478"/>
          <ac:picMkLst>
            <pc:docMk/>
            <pc:sldMk cId="1542203836" sldId="2147472035"/>
            <ac:picMk id="13" creationId="{5EEEAE85-9D1E-454E-CC19-2B7219A4C996}"/>
          </ac:picMkLst>
        </pc:picChg>
        <pc:picChg chg="add mod">
          <ac:chgData name="Michelle Norney2" userId="3937aebc-2741-4f72-aed9-694b0b032dac" providerId="ADAL" clId="{11E653C8-57AF-47B2-B646-C984C055F00E}" dt="2023-10-24T13:15:11.631" v="3133" actId="1076"/>
          <ac:picMkLst>
            <pc:docMk/>
            <pc:sldMk cId="1542203836" sldId="2147472035"/>
            <ac:picMk id="17" creationId="{3EDA5651-1E60-1409-FCA8-F65C8DA2B36F}"/>
          </ac:picMkLst>
        </pc:picChg>
        <pc:picChg chg="add del mod">
          <ac:chgData name="Michelle Norney2" userId="3937aebc-2741-4f72-aed9-694b0b032dac" providerId="ADAL" clId="{11E653C8-57AF-47B2-B646-C984C055F00E}" dt="2023-10-24T13:14:47.038" v="3071" actId="478"/>
          <ac:picMkLst>
            <pc:docMk/>
            <pc:sldMk cId="1542203836" sldId="2147472035"/>
            <ac:picMk id="21" creationId="{139764B0-875F-1244-B59C-D06B879667FC}"/>
          </ac:picMkLst>
        </pc:picChg>
        <pc:picChg chg="add del mod">
          <ac:chgData name="Michelle Norney2" userId="3937aebc-2741-4f72-aed9-694b0b032dac" providerId="ADAL" clId="{11E653C8-57AF-47B2-B646-C984C055F00E}" dt="2023-10-24T13:14:47.038" v="3071" actId="478"/>
          <ac:picMkLst>
            <pc:docMk/>
            <pc:sldMk cId="1542203836" sldId="2147472035"/>
            <ac:picMk id="29" creationId="{371A4216-5520-29AD-6EC3-A5C80A8039F7}"/>
          </ac:picMkLst>
        </pc:picChg>
      </pc:sldChg>
      <pc:sldChg chg="del ord">
        <pc:chgData name="Michelle Norney2" userId="3937aebc-2741-4f72-aed9-694b0b032dac" providerId="ADAL" clId="{11E653C8-57AF-47B2-B646-C984C055F00E}" dt="2023-10-24T12:28:11.245" v="817" actId="47"/>
        <pc:sldMkLst>
          <pc:docMk/>
          <pc:sldMk cId="2379899904" sldId="2147472035"/>
        </pc:sldMkLst>
      </pc:sldChg>
      <pc:sldChg chg="addSp delSp modSp add mod">
        <pc:chgData name="Michelle Norney2" userId="3937aebc-2741-4f72-aed9-694b0b032dac" providerId="ADAL" clId="{11E653C8-57AF-47B2-B646-C984C055F00E}" dt="2023-10-24T13:23:18.962" v="3593" actId="20577"/>
        <pc:sldMkLst>
          <pc:docMk/>
          <pc:sldMk cId="1323027410" sldId="2147472036"/>
        </pc:sldMkLst>
        <pc:spChg chg="del">
          <ac:chgData name="Michelle Norney2" userId="3937aebc-2741-4f72-aed9-694b0b032dac" providerId="ADAL" clId="{11E653C8-57AF-47B2-B646-C984C055F00E}" dt="2023-10-24T13:16:40.411" v="3159" actId="478"/>
          <ac:spMkLst>
            <pc:docMk/>
            <pc:sldMk cId="1323027410" sldId="2147472036"/>
            <ac:spMk id="3" creationId="{82B63E47-0A17-DE7F-CF1B-7DFBB76363D1}"/>
          </ac:spMkLst>
        </pc:spChg>
        <pc:spChg chg="del">
          <ac:chgData name="Michelle Norney2" userId="3937aebc-2741-4f72-aed9-694b0b032dac" providerId="ADAL" clId="{11E653C8-57AF-47B2-B646-C984C055F00E}" dt="2023-10-24T13:16:40.411" v="3159" actId="478"/>
          <ac:spMkLst>
            <pc:docMk/>
            <pc:sldMk cId="1323027410" sldId="2147472036"/>
            <ac:spMk id="5" creationId="{C2360E16-E12B-923E-715C-64F55C485B85}"/>
          </ac:spMkLst>
        </pc:spChg>
        <pc:spChg chg="del">
          <ac:chgData name="Michelle Norney2" userId="3937aebc-2741-4f72-aed9-694b0b032dac" providerId="ADAL" clId="{11E653C8-57AF-47B2-B646-C984C055F00E}" dt="2023-10-24T13:16:40.411" v="3159" actId="478"/>
          <ac:spMkLst>
            <pc:docMk/>
            <pc:sldMk cId="1323027410" sldId="2147472036"/>
            <ac:spMk id="6" creationId="{BBE0FD7E-E04B-59AE-F9D1-36EF27EF584E}"/>
          </ac:spMkLst>
        </pc:spChg>
        <pc:spChg chg="del">
          <ac:chgData name="Michelle Norney2" userId="3937aebc-2741-4f72-aed9-694b0b032dac" providerId="ADAL" clId="{11E653C8-57AF-47B2-B646-C984C055F00E}" dt="2023-10-24T13:16:40.411" v="3159" actId="478"/>
          <ac:spMkLst>
            <pc:docMk/>
            <pc:sldMk cId="1323027410" sldId="2147472036"/>
            <ac:spMk id="7" creationId="{7D856D3E-573D-6E4F-FA15-95884CA81DB6}"/>
          </ac:spMkLst>
        </pc:spChg>
        <pc:spChg chg="del">
          <ac:chgData name="Michelle Norney2" userId="3937aebc-2741-4f72-aed9-694b0b032dac" providerId="ADAL" clId="{11E653C8-57AF-47B2-B646-C984C055F00E}" dt="2023-10-24T13:16:40.411" v="3159" actId="478"/>
          <ac:spMkLst>
            <pc:docMk/>
            <pc:sldMk cId="1323027410" sldId="2147472036"/>
            <ac:spMk id="9" creationId="{E1C0E660-967B-2E9D-22FD-A6D0E5FBCE4A}"/>
          </ac:spMkLst>
        </pc:spChg>
        <pc:spChg chg="add del">
          <ac:chgData name="Michelle Norney2" userId="3937aebc-2741-4f72-aed9-694b0b032dac" providerId="ADAL" clId="{11E653C8-57AF-47B2-B646-C984C055F00E}" dt="2023-10-24T13:18:53.665" v="3272" actId="22"/>
          <ac:spMkLst>
            <pc:docMk/>
            <pc:sldMk cId="1323027410" sldId="2147472036"/>
            <ac:spMk id="10" creationId="{304FD2BE-0878-87BB-9845-47570F15DF76}"/>
          </ac:spMkLst>
        </pc:spChg>
        <pc:spChg chg="del">
          <ac:chgData name="Michelle Norney2" userId="3937aebc-2741-4f72-aed9-694b0b032dac" providerId="ADAL" clId="{11E653C8-57AF-47B2-B646-C984C055F00E}" dt="2023-10-24T13:16:40.411" v="3159" actId="478"/>
          <ac:spMkLst>
            <pc:docMk/>
            <pc:sldMk cId="1323027410" sldId="2147472036"/>
            <ac:spMk id="11" creationId="{695ED876-B17B-003D-F6D6-E04361F0322C}"/>
          </ac:spMkLst>
        </pc:spChg>
        <pc:spChg chg="del">
          <ac:chgData name="Michelle Norney2" userId="3937aebc-2741-4f72-aed9-694b0b032dac" providerId="ADAL" clId="{11E653C8-57AF-47B2-B646-C984C055F00E}" dt="2023-10-24T13:16:40.411" v="3159" actId="478"/>
          <ac:spMkLst>
            <pc:docMk/>
            <pc:sldMk cId="1323027410" sldId="2147472036"/>
            <ac:spMk id="12" creationId="{274EF8DD-3DA7-5D33-6BD7-CD550AE9AF66}"/>
          </ac:spMkLst>
        </pc:spChg>
        <pc:spChg chg="add mod">
          <ac:chgData name="Michelle Norney2" userId="3937aebc-2741-4f72-aed9-694b0b032dac" providerId="ADAL" clId="{11E653C8-57AF-47B2-B646-C984C055F00E}" dt="2023-10-24T13:19:21.947" v="3280" actId="20577"/>
          <ac:spMkLst>
            <pc:docMk/>
            <pc:sldMk cId="1323027410" sldId="2147472036"/>
            <ac:spMk id="14" creationId="{52A2754C-8A3B-5C5E-66D7-1EF9C61ACCFB}"/>
          </ac:spMkLst>
        </pc:spChg>
        <pc:spChg chg="add mod">
          <ac:chgData name="Michelle Norney2" userId="3937aebc-2741-4f72-aed9-694b0b032dac" providerId="ADAL" clId="{11E653C8-57AF-47B2-B646-C984C055F00E}" dt="2023-10-24T13:19:32.057" v="3284" actId="20577"/>
          <ac:spMkLst>
            <pc:docMk/>
            <pc:sldMk cId="1323027410" sldId="2147472036"/>
            <ac:spMk id="15" creationId="{7C72A14F-E40A-D401-B4B6-4E9DD995AAAA}"/>
          </ac:spMkLst>
        </pc:spChg>
        <pc:spChg chg="add mod">
          <ac:chgData name="Michelle Norney2" userId="3937aebc-2741-4f72-aed9-694b0b032dac" providerId="ADAL" clId="{11E653C8-57AF-47B2-B646-C984C055F00E}" dt="2023-10-24T13:23:18.962" v="3593" actId="20577"/>
          <ac:spMkLst>
            <pc:docMk/>
            <pc:sldMk cId="1323027410" sldId="2147472036"/>
            <ac:spMk id="16" creationId="{15A99F18-19BD-F60F-C85C-2287213DB278}"/>
          </ac:spMkLst>
        </pc:spChg>
        <pc:spChg chg="del">
          <ac:chgData name="Michelle Norney2" userId="3937aebc-2741-4f72-aed9-694b0b032dac" providerId="ADAL" clId="{11E653C8-57AF-47B2-B646-C984C055F00E}" dt="2023-10-24T13:16:40.411" v="3159" actId="478"/>
          <ac:spMkLst>
            <pc:docMk/>
            <pc:sldMk cId="1323027410" sldId="2147472036"/>
            <ac:spMk id="18" creationId="{8FEA8840-B043-F1FA-BE0D-E8414FA7C513}"/>
          </ac:spMkLst>
        </pc:spChg>
        <pc:spChg chg="del">
          <ac:chgData name="Michelle Norney2" userId="3937aebc-2741-4f72-aed9-694b0b032dac" providerId="ADAL" clId="{11E653C8-57AF-47B2-B646-C984C055F00E}" dt="2023-10-24T13:16:40.411" v="3159" actId="478"/>
          <ac:spMkLst>
            <pc:docMk/>
            <pc:sldMk cId="1323027410" sldId="2147472036"/>
            <ac:spMk id="19" creationId="{E37FB0AC-2DA7-EC1F-8BA1-F074BE10234B}"/>
          </ac:spMkLst>
        </pc:spChg>
        <pc:spChg chg="add del mod">
          <ac:chgData name="Michelle Norney2" userId="3937aebc-2741-4f72-aed9-694b0b032dac" providerId="ADAL" clId="{11E653C8-57AF-47B2-B646-C984C055F00E}" dt="2023-10-24T13:21:16.623" v="3456" actId="478"/>
          <ac:spMkLst>
            <pc:docMk/>
            <pc:sldMk cId="1323027410" sldId="2147472036"/>
            <ac:spMk id="20" creationId="{1066F9FC-E3DE-D323-0798-FE2D5F8B6F70}"/>
          </ac:spMkLst>
        </pc:spChg>
        <pc:spChg chg="mod">
          <ac:chgData name="Michelle Norney2" userId="3937aebc-2741-4f72-aed9-694b0b032dac" providerId="ADAL" clId="{11E653C8-57AF-47B2-B646-C984C055F00E}" dt="2023-10-24T13:18:20.494" v="3268" actId="6549"/>
          <ac:spMkLst>
            <pc:docMk/>
            <pc:sldMk cId="1323027410" sldId="2147472036"/>
            <ac:spMk id="22" creationId="{B70017F2-1B35-E915-B464-2EB1BF27A821}"/>
          </ac:spMkLst>
        </pc:spChg>
        <pc:spChg chg="del">
          <ac:chgData name="Michelle Norney2" userId="3937aebc-2741-4f72-aed9-694b0b032dac" providerId="ADAL" clId="{11E653C8-57AF-47B2-B646-C984C055F00E}" dt="2023-10-24T13:16:43.035" v="3160" actId="478"/>
          <ac:spMkLst>
            <pc:docMk/>
            <pc:sldMk cId="1323027410" sldId="2147472036"/>
            <ac:spMk id="24" creationId="{5EF53451-875F-B051-FED2-8E8F081035B5}"/>
          </ac:spMkLst>
        </pc:spChg>
        <pc:spChg chg="mod">
          <ac:chgData name="Michelle Norney2" userId="3937aebc-2741-4f72-aed9-694b0b032dac" providerId="ADAL" clId="{11E653C8-57AF-47B2-B646-C984C055F00E}" dt="2023-10-24T13:16:48.724" v="3161" actId="1076"/>
          <ac:spMkLst>
            <pc:docMk/>
            <pc:sldMk cId="1323027410" sldId="2147472036"/>
            <ac:spMk id="25" creationId="{13F0C823-04DB-5AC4-711B-E906953C6DFE}"/>
          </ac:spMkLst>
        </pc:spChg>
        <pc:spChg chg="mod">
          <ac:chgData name="Michelle Norney2" userId="3937aebc-2741-4f72-aed9-694b0b032dac" providerId="ADAL" clId="{11E653C8-57AF-47B2-B646-C984C055F00E}" dt="2023-10-24T13:16:48.724" v="3161" actId="1076"/>
          <ac:spMkLst>
            <pc:docMk/>
            <pc:sldMk cId="1323027410" sldId="2147472036"/>
            <ac:spMk id="26" creationId="{A53A3501-BBFF-25C3-051A-FAD158D95253}"/>
          </ac:spMkLst>
        </pc:spChg>
        <pc:spChg chg="mod">
          <ac:chgData name="Michelle Norney2" userId="3937aebc-2741-4f72-aed9-694b0b032dac" providerId="ADAL" clId="{11E653C8-57AF-47B2-B646-C984C055F00E}" dt="2023-10-24T13:18:13.922" v="3267" actId="1076"/>
          <ac:spMkLst>
            <pc:docMk/>
            <pc:sldMk cId="1323027410" sldId="2147472036"/>
            <ac:spMk id="27" creationId="{F32057CE-2681-A3E7-1DB5-7715FF7E93EC}"/>
          </ac:spMkLst>
        </pc:spChg>
        <pc:spChg chg="mod">
          <ac:chgData name="Michelle Norney2" userId="3937aebc-2741-4f72-aed9-694b0b032dac" providerId="ADAL" clId="{11E653C8-57AF-47B2-B646-C984C055F00E}" dt="2023-10-24T13:19:14.855" v="3276" actId="1076"/>
          <ac:spMkLst>
            <pc:docMk/>
            <pc:sldMk cId="1323027410" sldId="2147472036"/>
            <ac:spMk id="30" creationId="{3CBA916C-12C1-BF1E-70BE-0E75D38FC987}"/>
          </ac:spMkLst>
        </pc:spChg>
        <pc:spChg chg="mod">
          <ac:chgData name="Michelle Norney2" userId="3937aebc-2741-4f72-aed9-694b0b032dac" providerId="ADAL" clId="{11E653C8-57AF-47B2-B646-C984C055F00E}" dt="2023-10-24T13:18:53.927" v="3273"/>
          <ac:spMkLst>
            <pc:docMk/>
            <pc:sldMk cId="1323027410" sldId="2147472036"/>
            <ac:spMk id="31" creationId="{993636DC-3CC7-D044-CD76-CAD2CF7B2CB4}"/>
          </ac:spMkLst>
        </pc:spChg>
        <pc:picChg chg="del">
          <ac:chgData name="Michelle Norney2" userId="3937aebc-2741-4f72-aed9-694b0b032dac" providerId="ADAL" clId="{11E653C8-57AF-47B2-B646-C984C055F00E}" dt="2023-10-24T13:16:40.411" v="3159" actId="478"/>
          <ac:picMkLst>
            <pc:docMk/>
            <pc:sldMk cId="1323027410" sldId="2147472036"/>
            <ac:picMk id="4" creationId="{4BEFC6C1-1079-C300-4A23-D4B06DF499D0}"/>
          </ac:picMkLst>
        </pc:picChg>
        <pc:picChg chg="add mod">
          <ac:chgData name="Michelle Norney2" userId="3937aebc-2741-4f72-aed9-694b0b032dac" providerId="ADAL" clId="{11E653C8-57AF-47B2-B646-C984C055F00E}" dt="2023-10-24T13:19:08.097" v="3275" actId="1076"/>
          <ac:picMkLst>
            <pc:docMk/>
            <pc:sldMk cId="1323027410" sldId="2147472036"/>
            <ac:picMk id="13" creationId="{20C50912-C2A1-6283-C623-22B002BEA47C}"/>
          </ac:picMkLst>
        </pc:picChg>
        <pc:picChg chg="del">
          <ac:chgData name="Michelle Norney2" userId="3937aebc-2741-4f72-aed9-694b0b032dac" providerId="ADAL" clId="{11E653C8-57AF-47B2-B646-C984C055F00E}" dt="2023-10-24T13:16:40.411" v="3159" actId="478"/>
          <ac:picMkLst>
            <pc:docMk/>
            <pc:sldMk cId="1323027410" sldId="2147472036"/>
            <ac:picMk id="17" creationId="{3EDA5651-1E60-1409-FCA8-F65C8DA2B36F}"/>
          </ac:picMkLst>
        </pc:picChg>
        <pc:picChg chg="mod">
          <ac:chgData name="Michelle Norney2" userId="3937aebc-2741-4f72-aed9-694b0b032dac" providerId="ADAL" clId="{11E653C8-57AF-47B2-B646-C984C055F00E}" dt="2023-10-24T13:16:48.724" v="3161" actId="1076"/>
          <ac:picMkLst>
            <pc:docMk/>
            <pc:sldMk cId="1323027410" sldId="2147472036"/>
            <ac:picMk id="21" creationId="{139764B0-875F-1244-B59C-D06B879667FC}"/>
          </ac:picMkLst>
        </pc:picChg>
        <pc:picChg chg="mod">
          <ac:chgData name="Michelle Norney2" userId="3937aebc-2741-4f72-aed9-694b0b032dac" providerId="ADAL" clId="{11E653C8-57AF-47B2-B646-C984C055F00E}" dt="2023-10-24T13:16:53.681" v="3162" actId="14100"/>
          <ac:picMkLst>
            <pc:docMk/>
            <pc:sldMk cId="1323027410" sldId="2147472036"/>
            <ac:picMk id="29" creationId="{371A4216-5520-29AD-6EC3-A5C80A8039F7}"/>
          </ac:picMkLst>
        </pc:picChg>
      </pc:sldChg>
      <pc:sldChg chg="addSp delSp modSp add mod">
        <pc:chgData name="Michelle Norney2" userId="3937aebc-2741-4f72-aed9-694b0b032dac" providerId="ADAL" clId="{11E653C8-57AF-47B2-B646-C984C055F00E}" dt="2023-10-24T13:25:40.792" v="3721"/>
        <pc:sldMkLst>
          <pc:docMk/>
          <pc:sldMk cId="1635924386" sldId="2147472037"/>
        </pc:sldMkLst>
        <pc:spChg chg="del">
          <ac:chgData name="Michelle Norney2" userId="3937aebc-2741-4f72-aed9-694b0b032dac" providerId="ADAL" clId="{11E653C8-57AF-47B2-B646-C984C055F00E}" dt="2023-10-24T13:21:37.417" v="3465" actId="478"/>
          <ac:spMkLst>
            <pc:docMk/>
            <pc:sldMk cId="1635924386" sldId="2147472037"/>
            <ac:spMk id="14" creationId="{52A2754C-8A3B-5C5E-66D7-1EF9C61ACCFB}"/>
          </ac:spMkLst>
        </pc:spChg>
        <pc:spChg chg="del">
          <ac:chgData name="Michelle Norney2" userId="3937aebc-2741-4f72-aed9-694b0b032dac" providerId="ADAL" clId="{11E653C8-57AF-47B2-B646-C984C055F00E}" dt="2023-10-24T13:21:41.938" v="3468" actId="478"/>
          <ac:spMkLst>
            <pc:docMk/>
            <pc:sldMk cId="1635924386" sldId="2147472037"/>
            <ac:spMk id="15" creationId="{7C72A14F-E40A-D401-B4B6-4E9DD995AAAA}"/>
          </ac:spMkLst>
        </pc:spChg>
        <pc:spChg chg="del">
          <ac:chgData name="Michelle Norney2" userId="3937aebc-2741-4f72-aed9-694b0b032dac" providerId="ADAL" clId="{11E653C8-57AF-47B2-B646-C984C055F00E}" dt="2023-10-24T13:21:40.191" v="3467" actId="478"/>
          <ac:spMkLst>
            <pc:docMk/>
            <pc:sldMk cId="1635924386" sldId="2147472037"/>
            <ac:spMk id="16" creationId="{15A99F18-19BD-F60F-C85C-2287213DB278}"/>
          </ac:spMkLst>
        </pc:spChg>
        <pc:spChg chg="del">
          <ac:chgData name="Michelle Norney2" userId="3937aebc-2741-4f72-aed9-694b0b032dac" providerId="ADAL" clId="{11E653C8-57AF-47B2-B646-C984C055F00E}" dt="2023-10-24T13:21:29.973" v="3461" actId="478"/>
          <ac:spMkLst>
            <pc:docMk/>
            <pc:sldMk cId="1635924386" sldId="2147472037"/>
            <ac:spMk id="22" creationId="{B70017F2-1B35-E915-B464-2EB1BF27A821}"/>
          </ac:spMkLst>
        </pc:spChg>
        <pc:spChg chg="del">
          <ac:chgData name="Michelle Norney2" userId="3937aebc-2741-4f72-aed9-694b0b032dac" providerId="ADAL" clId="{11E653C8-57AF-47B2-B646-C984C055F00E}" dt="2023-10-24T13:21:26.222" v="3459" actId="478"/>
          <ac:spMkLst>
            <pc:docMk/>
            <pc:sldMk cId="1635924386" sldId="2147472037"/>
            <ac:spMk id="25" creationId="{13F0C823-04DB-5AC4-711B-E906953C6DFE}"/>
          </ac:spMkLst>
        </pc:spChg>
        <pc:spChg chg="del">
          <ac:chgData name="Michelle Norney2" userId="3937aebc-2741-4f72-aed9-694b0b032dac" providerId="ADAL" clId="{11E653C8-57AF-47B2-B646-C984C055F00E}" dt="2023-10-24T13:21:28.758" v="3460" actId="478"/>
          <ac:spMkLst>
            <pc:docMk/>
            <pc:sldMk cId="1635924386" sldId="2147472037"/>
            <ac:spMk id="26" creationId="{A53A3501-BBFF-25C3-051A-FAD158D95253}"/>
          </ac:spMkLst>
        </pc:spChg>
        <pc:spChg chg="del">
          <ac:chgData name="Michelle Norney2" userId="3937aebc-2741-4f72-aed9-694b0b032dac" providerId="ADAL" clId="{11E653C8-57AF-47B2-B646-C984C055F00E}" dt="2023-10-24T13:21:32.199" v="3462" actId="478"/>
          <ac:spMkLst>
            <pc:docMk/>
            <pc:sldMk cId="1635924386" sldId="2147472037"/>
            <ac:spMk id="27" creationId="{F32057CE-2681-A3E7-1DB5-7715FF7E93EC}"/>
          </ac:spMkLst>
        </pc:spChg>
        <pc:spChg chg="del">
          <ac:chgData name="Michelle Norney2" userId="3937aebc-2741-4f72-aed9-694b0b032dac" providerId="ADAL" clId="{11E653C8-57AF-47B2-B646-C984C055F00E}" dt="2023-10-24T13:21:33.590" v="3464" actId="478"/>
          <ac:spMkLst>
            <pc:docMk/>
            <pc:sldMk cId="1635924386" sldId="2147472037"/>
            <ac:spMk id="30" creationId="{3CBA916C-12C1-BF1E-70BE-0E75D38FC987}"/>
          </ac:spMkLst>
        </pc:spChg>
        <pc:spChg chg="mod">
          <ac:chgData name="Michelle Norney2" userId="3937aebc-2741-4f72-aed9-694b0b032dac" providerId="ADAL" clId="{11E653C8-57AF-47B2-B646-C984C055F00E}" dt="2023-10-24T13:25:40.792" v="3721"/>
          <ac:spMkLst>
            <pc:docMk/>
            <pc:sldMk cId="1635924386" sldId="2147472037"/>
            <ac:spMk id="31" creationId="{993636DC-3CC7-D044-CD76-CAD2CF7B2CB4}"/>
          </ac:spMkLst>
        </pc:spChg>
        <pc:picChg chg="add mod">
          <ac:chgData name="Michelle Norney2" userId="3937aebc-2741-4f72-aed9-694b0b032dac" providerId="ADAL" clId="{11E653C8-57AF-47B2-B646-C984C055F00E}" dt="2023-10-24T13:22:03.329" v="3471" actId="1076"/>
          <ac:picMkLst>
            <pc:docMk/>
            <pc:sldMk cId="1635924386" sldId="2147472037"/>
            <ac:picMk id="3" creationId="{D0236C4E-B4D2-3623-55C9-DFE3B4EE433D}"/>
          </ac:picMkLst>
        </pc:picChg>
        <pc:picChg chg="del">
          <ac:chgData name="Michelle Norney2" userId="3937aebc-2741-4f72-aed9-694b0b032dac" providerId="ADAL" clId="{11E653C8-57AF-47B2-B646-C984C055F00E}" dt="2023-10-24T13:21:38.494" v="3466" actId="478"/>
          <ac:picMkLst>
            <pc:docMk/>
            <pc:sldMk cId="1635924386" sldId="2147472037"/>
            <ac:picMk id="13" creationId="{20C50912-C2A1-6283-C623-22B002BEA47C}"/>
          </ac:picMkLst>
        </pc:picChg>
        <pc:picChg chg="del">
          <ac:chgData name="Michelle Norney2" userId="3937aebc-2741-4f72-aed9-694b0b032dac" providerId="ADAL" clId="{11E653C8-57AF-47B2-B646-C984C055F00E}" dt="2023-10-24T13:21:24.128" v="3458" actId="478"/>
          <ac:picMkLst>
            <pc:docMk/>
            <pc:sldMk cId="1635924386" sldId="2147472037"/>
            <ac:picMk id="21" creationId="{139764B0-875F-1244-B59C-D06B879667FC}"/>
          </ac:picMkLst>
        </pc:picChg>
        <pc:picChg chg="del">
          <ac:chgData name="Michelle Norney2" userId="3937aebc-2741-4f72-aed9-694b0b032dac" providerId="ADAL" clId="{11E653C8-57AF-47B2-B646-C984C055F00E}" dt="2023-10-24T13:21:32.798" v="3463" actId="478"/>
          <ac:picMkLst>
            <pc:docMk/>
            <pc:sldMk cId="1635924386" sldId="2147472037"/>
            <ac:picMk id="29" creationId="{371A4216-5520-29AD-6EC3-A5C80A8039F7}"/>
          </ac:picMkLst>
        </pc:picChg>
      </pc:sldChg>
      <pc:sldChg chg="del">
        <pc:chgData name="Michelle Norney2" userId="3937aebc-2741-4f72-aed9-694b0b032dac" providerId="ADAL" clId="{11E653C8-57AF-47B2-B646-C984C055F00E}" dt="2023-10-24T09:32:45.985" v="122" actId="47"/>
        <pc:sldMkLst>
          <pc:docMk/>
          <pc:sldMk cId="4246167283" sldId="2147472037"/>
        </pc:sldMkLst>
      </pc:sldChg>
      <pc:sldChg chg="addSp delSp modSp add mod">
        <pc:chgData name="Michelle Norney2" userId="3937aebc-2741-4f72-aed9-694b0b032dac" providerId="ADAL" clId="{11E653C8-57AF-47B2-B646-C984C055F00E}" dt="2023-10-24T13:34:27.964" v="4234" actId="1036"/>
        <pc:sldMkLst>
          <pc:docMk/>
          <pc:sldMk cId="3106755006" sldId="2147472038"/>
        </pc:sldMkLst>
        <pc:spChg chg="add mod">
          <ac:chgData name="Michelle Norney2" userId="3937aebc-2741-4f72-aed9-694b0b032dac" providerId="ADAL" clId="{11E653C8-57AF-47B2-B646-C984C055F00E}" dt="2023-10-24T13:34:27.964" v="4234" actId="1036"/>
          <ac:spMkLst>
            <pc:docMk/>
            <pc:sldMk cId="3106755006" sldId="2147472038"/>
            <ac:spMk id="4" creationId="{A0D27386-B48F-BA51-8EE3-63D26F649855}"/>
          </ac:spMkLst>
        </pc:spChg>
        <pc:spChg chg="del mod">
          <ac:chgData name="Michelle Norney2" userId="3937aebc-2741-4f72-aed9-694b0b032dac" providerId="ADAL" clId="{11E653C8-57AF-47B2-B646-C984C055F00E}" dt="2023-10-24T13:25:21.838" v="3716" actId="478"/>
          <ac:spMkLst>
            <pc:docMk/>
            <pc:sldMk cId="3106755006" sldId="2147472038"/>
            <ac:spMk id="31" creationId="{993636DC-3CC7-D044-CD76-CAD2CF7B2CB4}"/>
          </ac:spMkLst>
        </pc:spChg>
        <pc:picChg chg="del">
          <ac:chgData name="Michelle Norney2" userId="3937aebc-2741-4f72-aed9-694b0b032dac" providerId="ADAL" clId="{11E653C8-57AF-47B2-B646-C984C055F00E}" dt="2023-10-24T13:24:45.599" v="3709" actId="478"/>
          <ac:picMkLst>
            <pc:docMk/>
            <pc:sldMk cId="3106755006" sldId="2147472038"/>
            <ac:picMk id="3" creationId="{D0236C4E-B4D2-3623-55C9-DFE3B4EE433D}"/>
          </ac:picMkLst>
        </pc:picChg>
        <pc:picChg chg="add del mod">
          <ac:chgData name="Michelle Norney2" userId="3937aebc-2741-4f72-aed9-694b0b032dac" providerId="ADAL" clId="{11E653C8-57AF-47B2-B646-C984C055F00E}" dt="2023-10-24T13:29:03.967" v="4081" actId="478"/>
          <ac:picMkLst>
            <pc:docMk/>
            <pc:sldMk cId="3106755006" sldId="2147472038"/>
            <ac:picMk id="5" creationId="{2B24E596-B0A7-AB31-6B8B-12F6293BCF43}"/>
          </ac:picMkLst>
        </pc:picChg>
        <pc:picChg chg="add mod">
          <ac:chgData name="Michelle Norney2" userId="3937aebc-2741-4f72-aed9-694b0b032dac" providerId="ADAL" clId="{11E653C8-57AF-47B2-B646-C984C055F00E}" dt="2023-10-24T13:34:27.964" v="4234" actId="1036"/>
          <ac:picMkLst>
            <pc:docMk/>
            <pc:sldMk cId="3106755006" sldId="2147472038"/>
            <ac:picMk id="6" creationId="{A6C9742D-1BCA-2C03-4DDC-0E5D450C01B0}"/>
          </ac:picMkLst>
        </pc:picChg>
        <pc:picChg chg="add mod">
          <ac:chgData name="Michelle Norney2" userId="3937aebc-2741-4f72-aed9-694b0b032dac" providerId="ADAL" clId="{11E653C8-57AF-47B2-B646-C984C055F00E}" dt="2023-10-24T13:34:27.964" v="4234" actId="1036"/>
          <ac:picMkLst>
            <pc:docMk/>
            <pc:sldMk cId="3106755006" sldId="2147472038"/>
            <ac:picMk id="7" creationId="{13E54179-1755-51FD-C3F6-3B7170DEF923}"/>
          </ac:picMkLst>
        </pc:picChg>
        <pc:picChg chg="add del mod">
          <ac:chgData name="Michelle Norney2" userId="3937aebc-2741-4f72-aed9-694b0b032dac" providerId="ADAL" clId="{11E653C8-57AF-47B2-B646-C984C055F00E}" dt="2023-10-24T13:34:18.730" v="4208" actId="478"/>
          <ac:picMkLst>
            <pc:docMk/>
            <pc:sldMk cId="3106755006" sldId="2147472038"/>
            <ac:picMk id="8" creationId="{3D568A20-13CB-E4CD-83B5-1B02EDF49B1A}"/>
          </ac:picMkLst>
        </pc:picChg>
        <pc:picChg chg="add del mod">
          <ac:chgData name="Michelle Norney2" userId="3937aebc-2741-4f72-aed9-694b0b032dac" providerId="ADAL" clId="{11E653C8-57AF-47B2-B646-C984C055F00E}" dt="2023-10-24T13:33:32.987" v="4189" actId="478"/>
          <ac:picMkLst>
            <pc:docMk/>
            <pc:sldMk cId="3106755006" sldId="2147472038"/>
            <ac:picMk id="9" creationId="{15D9C87E-E899-3DEB-D384-B99BD69C4F8D}"/>
          </ac:picMkLst>
        </pc:picChg>
      </pc:sldChg>
      <pc:sldChg chg="addSp modSp new del mod ord">
        <pc:chgData name="Michelle Norney2" userId="3937aebc-2741-4f72-aed9-694b0b032dac" providerId="ADAL" clId="{11E653C8-57AF-47B2-B646-C984C055F00E}" dt="2023-10-25T07:51:08.272" v="5072" actId="47"/>
        <pc:sldMkLst>
          <pc:docMk/>
          <pc:sldMk cId="1672736417" sldId="2147472039"/>
        </pc:sldMkLst>
        <pc:spChg chg="add mod">
          <ac:chgData name="Michelle Norney2" userId="3937aebc-2741-4f72-aed9-694b0b032dac" providerId="ADAL" clId="{11E653C8-57AF-47B2-B646-C984C055F00E}" dt="2023-10-25T07:50:57.790" v="5069" actId="20577"/>
          <ac:spMkLst>
            <pc:docMk/>
            <pc:sldMk cId="1672736417" sldId="2147472039"/>
            <ac:spMk id="3" creationId="{00457407-8064-B216-E15E-E1938AF316A4}"/>
          </ac:spMkLst>
        </pc:spChg>
      </pc:sldChg>
      <pc:sldChg chg="del">
        <pc:chgData name="Michelle Norney2" userId="3937aebc-2741-4f72-aed9-694b0b032dac" providerId="ADAL" clId="{11E653C8-57AF-47B2-B646-C984C055F00E}" dt="2023-10-24T09:31:14.674" v="58" actId="47"/>
        <pc:sldMkLst>
          <pc:docMk/>
          <pc:sldMk cId="3393255447" sldId="2147472039"/>
        </pc:sldMkLst>
      </pc:sldChg>
      <pc:sldChg chg="addSp delSp modSp add mod">
        <pc:chgData name="Michelle Norney2" userId="3937aebc-2741-4f72-aed9-694b0b032dac" providerId="ADAL" clId="{11E653C8-57AF-47B2-B646-C984C055F00E}" dt="2023-10-25T07:51:25.075" v="5074" actId="1076"/>
        <pc:sldMkLst>
          <pc:docMk/>
          <pc:sldMk cId="2203752862" sldId="2147472040"/>
        </pc:sldMkLst>
        <pc:spChg chg="add mod">
          <ac:chgData name="Michelle Norney2" userId="3937aebc-2741-4f72-aed9-694b0b032dac" providerId="ADAL" clId="{11E653C8-57AF-47B2-B646-C984C055F00E}" dt="2023-10-25T07:51:16.802" v="5073" actId="1076"/>
          <ac:spMkLst>
            <pc:docMk/>
            <pc:sldMk cId="2203752862" sldId="2147472040"/>
            <ac:spMk id="3" creationId="{31052FE0-E951-FF00-5808-7BA25605D1FE}"/>
          </ac:spMkLst>
        </pc:spChg>
        <pc:spChg chg="add del mod">
          <ac:chgData name="Michelle Norney2" userId="3937aebc-2741-4f72-aed9-694b0b032dac" providerId="ADAL" clId="{11E653C8-57AF-47B2-B646-C984C055F00E}" dt="2023-10-24T13:33:52.243" v="4201" actId="20577"/>
          <ac:spMkLst>
            <pc:docMk/>
            <pc:sldMk cId="2203752862" sldId="2147472040"/>
            <ac:spMk id="4" creationId="{A0D27386-B48F-BA51-8EE3-63D26F649855}"/>
          </ac:spMkLst>
        </pc:spChg>
        <pc:spChg chg="add mod">
          <ac:chgData name="Michelle Norney2" userId="3937aebc-2741-4f72-aed9-694b0b032dac" providerId="ADAL" clId="{11E653C8-57AF-47B2-B646-C984C055F00E}" dt="2023-10-25T07:51:25.075" v="5074" actId="1076"/>
          <ac:spMkLst>
            <pc:docMk/>
            <pc:sldMk cId="2203752862" sldId="2147472040"/>
            <ac:spMk id="5" creationId="{AAF26714-688B-BEB1-126F-7C7A3E2C4261}"/>
          </ac:spMkLst>
        </pc:spChg>
        <pc:picChg chg="del">
          <ac:chgData name="Michelle Norney2" userId="3937aebc-2741-4f72-aed9-694b0b032dac" providerId="ADAL" clId="{11E653C8-57AF-47B2-B646-C984C055F00E}" dt="2023-10-24T13:33:42.721" v="4192" actId="478"/>
          <ac:picMkLst>
            <pc:docMk/>
            <pc:sldMk cId="2203752862" sldId="2147472040"/>
            <ac:picMk id="6" creationId="{A6C9742D-1BCA-2C03-4DDC-0E5D450C01B0}"/>
          </ac:picMkLst>
        </pc:picChg>
        <pc:picChg chg="del">
          <ac:chgData name="Michelle Norney2" userId="3937aebc-2741-4f72-aed9-694b0b032dac" providerId="ADAL" clId="{11E653C8-57AF-47B2-B646-C984C055F00E}" dt="2023-10-24T13:33:55.530" v="4203" actId="478"/>
          <ac:picMkLst>
            <pc:docMk/>
            <pc:sldMk cId="2203752862" sldId="2147472040"/>
            <ac:picMk id="7" creationId="{13E54179-1755-51FD-C3F6-3B7170DEF923}"/>
          </ac:picMkLst>
        </pc:picChg>
        <pc:picChg chg="mod">
          <ac:chgData name="Michelle Norney2" userId="3937aebc-2741-4f72-aed9-694b0b032dac" providerId="ADAL" clId="{11E653C8-57AF-47B2-B646-C984C055F00E}" dt="2023-10-24T13:33:57.004" v="4204" actId="1076"/>
          <ac:picMkLst>
            <pc:docMk/>
            <pc:sldMk cId="2203752862" sldId="2147472040"/>
            <ac:picMk id="8" creationId="{3D568A20-13CB-E4CD-83B5-1B02EDF49B1A}"/>
          </ac:picMkLst>
        </pc:picChg>
      </pc:sldChg>
      <pc:sldChg chg="del">
        <pc:chgData name="Michelle Norney2" userId="3937aebc-2741-4f72-aed9-694b0b032dac" providerId="ADAL" clId="{11E653C8-57AF-47B2-B646-C984C055F00E}" dt="2023-10-24T09:32:39.315" v="118" actId="47"/>
        <pc:sldMkLst>
          <pc:docMk/>
          <pc:sldMk cId="2408784417" sldId="2147472040"/>
        </pc:sldMkLst>
      </pc:sldChg>
      <pc:sldChg chg="del">
        <pc:chgData name="Michelle Norney2" userId="3937aebc-2741-4f72-aed9-694b0b032dac" providerId="ADAL" clId="{11E653C8-57AF-47B2-B646-C984C055F00E}" dt="2023-10-24T09:32:47.821" v="124" actId="47"/>
        <pc:sldMkLst>
          <pc:docMk/>
          <pc:sldMk cId="4179571657" sldId="2147472041"/>
        </pc:sldMkLst>
      </pc:sldChg>
      <pc:sldChg chg="del">
        <pc:chgData name="Michelle Norney2" userId="3937aebc-2741-4f72-aed9-694b0b032dac" providerId="ADAL" clId="{11E653C8-57AF-47B2-B646-C984C055F00E}" dt="2023-10-24T09:32:46.751" v="123" actId="47"/>
        <pc:sldMkLst>
          <pc:docMk/>
          <pc:sldMk cId="3550626181" sldId="2147472043"/>
        </pc:sldMkLst>
      </pc:sldChg>
    </pc:docChg>
  </pc:docChgLst>
  <pc:docChgLst>
    <pc:chgData name="Michelle Norney2" userId="3937aebc-2741-4f72-aed9-694b0b032dac" providerId="ADAL" clId="{0BCB4E03-C41E-47E0-AF4B-EC5E1FE6172F}"/>
    <pc:docChg chg="undo custSel addSld delSld modSld">
      <pc:chgData name="Michelle Norney2" userId="3937aebc-2741-4f72-aed9-694b0b032dac" providerId="ADAL" clId="{0BCB4E03-C41E-47E0-AF4B-EC5E1FE6172F}" dt="2023-10-25T15:58:43.433" v="3716" actId="1076"/>
      <pc:docMkLst>
        <pc:docMk/>
      </pc:docMkLst>
      <pc:sldChg chg="modSp mod">
        <pc:chgData name="Michelle Norney2" userId="3937aebc-2741-4f72-aed9-694b0b032dac" providerId="ADAL" clId="{0BCB4E03-C41E-47E0-AF4B-EC5E1FE6172F}" dt="2023-10-25T10:10:02.463" v="39" actId="6549"/>
        <pc:sldMkLst>
          <pc:docMk/>
          <pc:sldMk cId="2928876045" sldId="2146848437"/>
        </pc:sldMkLst>
        <pc:spChg chg="mod">
          <ac:chgData name="Michelle Norney2" userId="3937aebc-2741-4f72-aed9-694b0b032dac" providerId="ADAL" clId="{0BCB4E03-C41E-47E0-AF4B-EC5E1FE6172F}" dt="2023-10-25T10:09:44.504" v="0" actId="1076"/>
          <ac:spMkLst>
            <pc:docMk/>
            <pc:sldMk cId="2928876045" sldId="2146848437"/>
            <ac:spMk id="6" creationId="{A2FBC74D-BBCC-56F7-F764-1B1B87CF7879}"/>
          </ac:spMkLst>
        </pc:spChg>
        <pc:spChg chg="mod">
          <ac:chgData name="Michelle Norney2" userId="3937aebc-2741-4f72-aed9-694b0b032dac" providerId="ADAL" clId="{0BCB4E03-C41E-47E0-AF4B-EC5E1FE6172F}" dt="2023-10-25T10:10:02.463" v="39" actId="6549"/>
          <ac:spMkLst>
            <pc:docMk/>
            <pc:sldMk cId="2928876045" sldId="2146848437"/>
            <ac:spMk id="12" creationId="{3219A66B-4CB5-36D6-CBA7-01540712D0B5}"/>
          </ac:spMkLst>
        </pc:spChg>
      </pc:sldChg>
      <pc:sldChg chg="modSp mod">
        <pc:chgData name="Michelle Norney2" userId="3937aebc-2741-4f72-aed9-694b0b032dac" providerId="ADAL" clId="{0BCB4E03-C41E-47E0-AF4B-EC5E1FE6172F}" dt="2023-10-25T10:27:40.010" v="797" actId="113"/>
        <pc:sldMkLst>
          <pc:docMk/>
          <pc:sldMk cId="875208388" sldId="2147471996"/>
        </pc:sldMkLst>
        <pc:spChg chg="mod">
          <ac:chgData name="Michelle Norney2" userId="3937aebc-2741-4f72-aed9-694b0b032dac" providerId="ADAL" clId="{0BCB4E03-C41E-47E0-AF4B-EC5E1FE6172F}" dt="2023-10-25T10:25:15.186" v="577" actId="20577"/>
          <ac:spMkLst>
            <pc:docMk/>
            <pc:sldMk cId="875208388" sldId="2147471996"/>
            <ac:spMk id="2" creationId="{3F85F59C-A2EC-295D-B2D3-2401254C9B72}"/>
          </ac:spMkLst>
        </pc:spChg>
        <pc:spChg chg="mod">
          <ac:chgData name="Michelle Norney2" userId="3937aebc-2741-4f72-aed9-694b0b032dac" providerId="ADAL" clId="{0BCB4E03-C41E-47E0-AF4B-EC5E1FE6172F}" dt="2023-10-25T10:27:40.010" v="797" actId="113"/>
          <ac:spMkLst>
            <pc:docMk/>
            <pc:sldMk cId="875208388" sldId="2147471996"/>
            <ac:spMk id="4" creationId="{2B406FDB-34BD-6F4A-852F-261613E8244B}"/>
          </ac:spMkLst>
        </pc:spChg>
        <pc:picChg chg="mod">
          <ac:chgData name="Michelle Norney2" userId="3937aebc-2741-4f72-aed9-694b0b032dac" providerId="ADAL" clId="{0BCB4E03-C41E-47E0-AF4B-EC5E1FE6172F}" dt="2023-10-25T10:11:07.418" v="111" actId="1076"/>
          <ac:picMkLst>
            <pc:docMk/>
            <pc:sldMk cId="875208388" sldId="2147471996"/>
            <ac:picMk id="3" creationId="{4449CFA8-FE47-EE3D-570B-0C97510EAEE3}"/>
          </ac:picMkLst>
        </pc:picChg>
      </pc:sldChg>
      <pc:sldChg chg="delSp modSp mod">
        <pc:chgData name="Michelle Norney2" userId="3937aebc-2741-4f72-aed9-694b0b032dac" providerId="ADAL" clId="{0BCB4E03-C41E-47E0-AF4B-EC5E1FE6172F}" dt="2023-10-25T10:16:50.390" v="498" actId="478"/>
        <pc:sldMkLst>
          <pc:docMk/>
          <pc:sldMk cId="3262348500" sldId="2147472032"/>
        </pc:sldMkLst>
        <pc:spChg chg="mod">
          <ac:chgData name="Michelle Norney2" userId="3937aebc-2741-4f72-aed9-694b0b032dac" providerId="ADAL" clId="{0BCB4E03-C41E-47E0-AF4B-EC5E1FE6172F}" dt="2023-10-25T10:13:34.851" v="241" actId="6549"/>
          <ac:spMkLst>
            <pc:docMk/>
            <pc:sldMk cId="3262348500" sldId="2147472032"/>
            <ac:spMk id="2" creationId="{3F85F59C-A2EC-295D-B2D3-2401254C9B72}"/>
          </ac:spMkLst>
        </pc:spChg>
        <pc:spChg chg="mod">
          <ac:chgData name="Michelle Norney2" userId="3937aebc-2741-4f72-aed9-694b0b032dac" providerId="ADAL" clId="{0BCB4E03-C41E-47E0-AF4B-EC5E1FE6172F}" dt="2023-10-25T10:15:05.458" v="479" actId="20577"/>
          <ac:spMkLst>
            <pc:docMk/>
            <pc:sldMk cId="3262348500" sldId="2147472032"/>
            <ac:spMk id="4" creationId="{2B406FDB-34BD-6F4A-852F-261613E8244B}"/>
          </ac:spMkLst>
        </pc:spChg>
        <pc:spChg chg="del">
          <ac:chgData name="Michelle Norney2" userId="3937aebc-2741-4f72-aed9-694b0b032dac" providerId="ADAL" clId="{0BCB4E03-C41E-47E0-AF4B-EC5E1FE6172F}" dt="2023-10-25T10:13:51.783" v="264" actId="478"/>
          <ac:spMkLst>
            <pc:docMk/>
            <pc:sldMk cId="3262348500" sldId="2147472032"/>
            <ac:spMk id="6" creationId="{3C8062D0-3B8E-BB39-747D-65AB889EF791}"/>
          </ac:spMkLst>
        </pc:spChg>
        <pc:spChg chg="mod">
          <ac:chgData name="Michelle Norney2" userId="3937aebc-2741-4f72-aed9-694b0b032dac" providerId="ADAL" clId="{0BCB4E03-C41E-47E0-AF4B-EC5E1FE6172F}" dt="2023-10-25T10:15:14.224" v="480" actId="1076"/>
          <ac:spMkLst>
            <pc:docMk/>
            <pc:sldMk cId="3262348500" sldId="2147472032"/>
            <ac:spMk id="7" creationId="{7D856D3E-573D-6E4F-FA15-95884CA81DB6}"/>
          </ac:spMkLst>
        </pc:spChg>
        <pc:spChg chg="del mod">
          <ac:chgData name="Michelle Norney2" userId="3937aebc-2741-4f72-aed9-694b0b032dac" providerId="ADAL" clId="{0BCB4E03-C41E-47E0-AF4B-EC5E1FE6172F}" dt="2023-10-25T10:16:50.390" v="498" actId="478"/>
          <ac:spMkLst>
            <pc:docMk/>
            <pc:sldMk cId="3262348500" sldId="2147472032"/>
            <ac:spMk id="13" creationId="{419155E8-1193-6669-F0B6-DF063A90C672}"/>
          </ac:spMkLst>
        </pc:spChg>
        <pc:grpChg chg="mod">
          <ac:chgData name="Michelle Norney2" userId="3937aebc-2741-4f72-aed9-694b0b032dac" providerId="ADAL" clId="{0BCB4E03-C41E-47E0-AF4B-EC5E1FE6172F}" dt="2023-10-25T10:15:19.085" v="482" actId="1076"/>
          <ac:grpSpMkLst>
            <pc:docMk/>
            <pc:sldMk cId="3262348500" sldId="2147472032"/>
            <ac:grpSpMk id="10" creationId="{28AFAE93-16FB-9721-7F95-D5C0E90A3305}"/>
          </ac:grpSpMkLst>
        </pc:grpChg>
        <pc:picChg chg="mod">
          <ac:chgData name="Michelle Norney2" userId="3937aebc-2741-4f72-aed9-694b0b032dac" providerId="ADAL" clId="{0BCB4E03-C41E-47E0-AF4B-EC5E1FE6172F}" dt="2023-10-25T10:15:16.428" v="481" actId="1076"/>
          <ac:picMkLst>
            <pc:docMk/>
            <pc:sldMk cId="3262348500" sldId="2147472032"/>
            <ac:picMk id="5" creationId="{2AD23D8E-359E-C818-8C3C-2542FD844822}"/>
          </ac:picMkLst>
        </pc:picChg>
        <pc:picChg chg="mod">
          <ac:chgData name="Michelle Norney2" userId="3937aebc-2741-4f72-aed9-694b0b032dac" providerId="ADAL" clId="{0BCB4E03-C41E-47E0-AF4B-EC5E1FE6172F}" dt="2023-10-25T10:15:23.533" v="484" actId="1076"/>
          <ac:picMkLst>
            <pc:docMk/>
            <pc:sldMk cId="3262348500" sldId="2147472032"/>
            <ac:picMk id="8" creationId="{65CB2826-C9F0-9304-B119-29D0E703F72F}"/>
          </ac:picMkLst>
        </pc:picChg>
      </pc:sldChg>
      <pc:sldChg chg="delSp modSp mod">
        <pc:chgData name="Michelle Norney2" userId="3937aebc-2741-4f72-aed9-694b0b032dac" providerId="ADAL" clId="{0BCB4E03-C41E-47E0-AF4B-EC5E1FE6172F}" dt="2023-10-25T10:18:31.675" v="507" actId="20577"/>
        <pc:sldMkLst>
          <pc:docMk/>
          <pc:sldMk cId="641916557" sldId="2147472033"/>
        </pc:sldMkLst>
        <pc:spChg chg="mod">
          <ac:chgData name="Michelle Norney2" userId="3937aebc-2741-4f72-aed9-694b0b032dac" providerId="ADAL" clId="{0BCB4E03-C41E-47E0-AF4B-EC5E1FE6172F}" dt="2023-10-25T10:16:39.189" v="497" actId="13926"/>
          <ac:spMkLst>
            <pc:docMk/>
            <pc:sldMk cId="641916557" sldId="2147472033"/>
            <ac:spMk id="2" creationId="{3F85F59C-A2EC-295D-B2D3-2401254C9B72}"/>
          </ac:spMkLst>
        </pc:spChg>
        <pc:spChg chg="del mod">
          <ac:chgData name="Michelle Norney2" userId="3937aebc-2741-4f72-aed9-694b0b032dac" providerId="ADAL" clId="{0BCB4E03-C41E-47E0-AF4B-EC5E1FE6172F}" dt="2023-10-25T10:18:16.041" v="505" actId="478"/>
          <ac:spMkLst>
            <pc:docMk/>
            <pc:sldMk cId="641916557" sldId="2147472033"/>
            <ac:spMk id="6" creationId="{DA9CD85E-2AF6-E4B3-FE7F-8C69C572C4AA}"/>
          </ac:spMkLst>
        </pc:spChg>
        <pc:spChg chg="mod">
          <ac:chgData name="Michelle Norney2" userId="3937aebc-2741-4f72-aed9-694b0b032dac" providerId="ADAL" clId="{0BCB4E03-C41E-47E0-AF4B-EC5E1FE6172F}" dt="2023-10-25T10:18:31.675" v="507" actId="20577"/>
          <ac:spMkLst>
            <pc:docMk/>
            <pc:sldMk cId="641916557" sldId="2147472033"/>
            <ac:spMk id="7" creationId="{7D856D3E-573D-6E4F-FA15-95884CA81DB6}"/>
          </ac:spMkLst>
        </pc:spChg>
      </pc:sldChg>
      <pc:sldChg chg="addSp delSp modSp mod">
        <pc:chgData name="Michelle Norney2" userId="3937aebc-2741-4f72-aed9-694b0b032dac" providerId="ADAL" clId="{0BCB4E03-C41E-47E0-AF4B-EC5E1FE6172F}" dt="2023-10-25T10:29:21.975" v="831" actId="1076"/>
        <pc:sldMkLst>
          <pc:docMk/>
          <pc:sldMk cId="56409937" sldId="2147472034"/>
        </pc:sldMkLst>
        <pc:spChg chg="mod">
          <ac:chgData name="Michelle Norney2" userId="3937aebc-2741-4f72-aed9-694b0b032dac" providerId="ADAL" clId="{0BCB4E03-C41E-47E0-AF4B-EC5E1FE6172F}" dt="2023-10-25T10:20:49.860" v="518" actId="13926"/>
          <ac:spMkLst>
            <pc:docMk/>
            <pc:sldMk cId="56409937" sldId="2147472034"/>
            <ac:spMk id="2" creationId="{3F85F59C-A2EC-295D-B2D3-2401254C9B72}"/>
          </ac:spMkLst>
        </pc:spChg>
        <pc:spChg chg="del">
          <ac:chgData name="Michelle Norney2" userId="3937aebc-2741-4f72-aed9-694b0b032dac" providerId="ADAL" clId="{0BCB4E03-C41E-47E0-AF4B-EC5E1FE6172F}" dt="2023-10-25T10:22:01.498" v="519" actId="478"/>
          <ac:spMkLst>
            <pc:docMk/>
            <pc:sldMk cId="56409937" sldId="2147472034"/>
            <ac:spMk id="3" creationId="{BBED47EB-96B4-82C3-7DE9-866F72FD99FA}"/>
          </ac:spMkLst>
        </pc:spChg>
        <pc:spChg chg="mod">
          <ac:chgData name="Michelle Norney2" userId="3937aebc-2741-4f72-aed9-694b0b032dac" providerId="ADAL" clId="{0BCB4E03-C41E-47E0-AF4B-EC5E1FE6172F}" dt="2023-10-25T10:23:19.837" v="548" actId="20577"/>
          <ac:spMkLst>
            <pc:docMk/>
            <pc:sldMk cId="56409937" sldId="2147472034"/>
            <ac:spMk id="7" creationId="{7D856D3E-573D-6E4F-FA15-95884CA81DB6}"/>
          </ac:spMkLst>
        </pc:spChg>
        <pc:spChg chg="mod">
          <ac:chgData name="Michelle Norney2" userId="3937aebc-2741-4f72-aed9-694b0b032dac" providerId="ADAL" clId="{0BCB4E03-C41E-47E0-AF4B-EC5E1FE6172F}" dt="2023-10-25T10:29:21.975" v="831" actId="1076"/>
          <ac:spMkLst>
            <pc:docMk/>
            <pc:sldMk cId="56409937" sldId="2147472034"/>
            <ac:spMk id="10" creationId="{2250BC45-D8EE-5078-E762-2BB862A6BB43}"/>
          </ac:spMkLst>
        </pc:spChg>
        <pc:spChg chg="mod">
          <ac:chgData name="Michelle Norney2" userId="3937aebc-2741-4f72-aed9-694b0b032dac" providerId="ADAL" clId="{0BCB4E03-C41E-47E0-AF4B-EC5E1FE6172F}" dt="2023-10-25T10:29:10.779" v="828" actId="20577"/>
          <ac:spMkLst>
            <pc:docMk/>
            <pc:sldMk cId="56409937" sldId="2147472034"/>
            <ac:spMk id="15" creationId="{BC8C4459-C7BE-D372-15E0-0637FAAC51C0}"/>
          </ac:spMkLst>
        </pc:spChg>
        <pc:spChg chg="del mod">
          <ac:chgData name="Michelle Norney2" userId="3937aebc-2741-4f72-aed9-694b0b032dac" providerId="ADAL" clId="{0BCB4E03-C41E-47E0-AF4B-EC5E1FE6172F}" dt="2023-10-25T10:28:49.353" v="807" actId="478"/>
          <ac:spMkLst>
            <pc:docMk/>
            <pc:sldMk cId="56409937" sldId="2147472034"/>
            <ac:spMk id="16" creationId="{5084D9EB-4A8C-B604-7728-F1991CA40AE0}"/>
          </ac:spMkLst>
        </pc:spChg>
        <pc:grpChg chg="add mod">
          <ac:chgData name="Michelle Norney2" userId="3937aebc-2741-4f72-aed9-694b0b032dac" providerId="ADAL" clId="{0BCB4E03-C41E-47E0-AF4B-EC5E1FE6172F}" dt="2023-10-25T10:29:14.639" v="829" actId="1076"/>
          <ac:grpSpMkLst>
            <pc:docMk/>
            <pc:sldMk cId="56409937" sldId="2147472034"/>
            <ac:grpSpMk id="12" creationId="{228EB5A5-0E34-31A1-F335-55F44EA9F909}"/>
          </ac:grpSpMkLst>
        </pc:grpChg>
        <pc:picChg chg="mod">
          <ac:chgData name="Michelle Norney2" userId="3937aebc-2741-4f72-aed9-694b0b032dac" providerId="ADAL" clId="{0BCB4E03-C41E-47E0-AF4B-EC5E1FE6172F}" dt="2023-10-25T10:29:02.504" v="811" actId="164"/>
          <ac:picMkLst>
            <pc:docMk/>
            <pc:sldMk cId="56409937" sldId="2147472034"/>
            <ac:picMk id="8" creationId="{49E075C2-1D80-5590-2211-A432786045DC}"/>
          </ac:picMkLst>
        </pc:picChg>
        <pc:picChg chg="add mod modCrop">
          <ac:chgData name="Michelle Norney2" userId="3937aebc-2741-4f72-aed9-694b0b032dac" providerId="ADAL" clId="{0BCB4E03-C41E-47E0-AF4B-EC5E1FE6172F}" dt="2023-10-25T10:29:02.504" v="811" actId="164"/>
          <ac:picMkLst>
            <pc:docMk/>
            <pc:sldMk cId="56409937" sldId="2147472034"/>
            <ac:picMk id="11" creationId="{C8E576F9-C238-CB58-5EB1-D8989C1EF809}"/>
          </ac:picMkLst>
        </pc:picChg>
        <pc:picChg chg="mod">
          <ac:chgData name="Michelle Norney2" userId="3937aebc-2741-4f72-aed9-694b0b032dac" providerId="ADAL" clId="{0BCB4E03-C41E-47E0-AF4B-EC5E1FE6172F}" dt="2023-10-25T10:29:18.668" v="830" actId="1076"/>
          <ac:picMkLst>
            <pc:docMk/>
            <pc:sldMk cId="56409937" sldId="2147472034"/>
            <ac:picMk id="13" creationId="{5EEEAE85-9D1E-454E-CC19-2B7219A4C996}"/>
          </ac:picMkLst>
        </pc:picChg>
      </pc:sldChg>
      <pc:sldChg chg="delSp modSp mod">
        <pc:chgData name="Michelle Norney2" userId="3937aebc-2741-4f72-aed9-694b0b032dac" providerId="ADAL" clId="{0BCB4E03-C41E-47E0-AF4B-EC5E1FE6172F}" dt="2023-10-25T12:56:22.867" v="1057" actId="20577"/>
        <pc:sldMkLst>
          <pc:docMk/>
          <pc:sldMk cId="1542203836" sldId="2147472035"/>
        </pc:sldMkLst>
        <pc:spChg chg="mod">
          <ac:chgData name="Michelle Norney2" userId="3937aebc-2741-4f72-aed9-694b0b032dac" providerId="ADAL" clId="{0BCB4E03-C41E-47E0-AF4B-EC5E1FE6172F}" dt="2023-10-25T10:23:50.338" v="563" actId="13926"/>
          <ac:spMkLst>
            <pc:docMk/>
            <pc:sldMk cId="1542203836" sldId="2147472035"/>
            <ac:spMk id="2" creationId="{3F85F59C-A2EC-295D-B2D3-2401254C9B72}"/>
          </ac:spMkLst>
        </pc:spChg>
        <pc:spChg chg="mod">
          <ac:chgData name="Michelle Norney2" userId="3937aebc-2741-4f72-aed9-694b0b032dac" providerId="ADAL" clId="{0BCB4E03-C41E-47E0-AF4B-EC5E1FE6172F}" dt="2023-10-25T12:56:22.867" v="1057" actId="20577"/>
          <ac:spMkLst>
            <pc:docMk/>
            <pc:sldMk cId="1542203836" sldId="2147472035"/>
            <ac:spMk id="7" creationId="{7D856D3E-573D-6E4F-FA15-95884CA81DB6}"/>
          </ac:spMkLst>
        </pc:spChg>
        <pc:spChg chg="mod">
          <ac:chgData name="Michelle Norney2" userId="3937aebc-2741-4f72-aed9-694b0b032dac" providerId="ADAL" clId="{0BCB4E03-C41E-47E0-AF4B-EC5E1FE6172F}" dt="2023-10-25T12:56:20.276" v="1056" actId="1076"/>
          <ac:spMkLst>
            <pc:docMk/>
            <pc:sldMk cId="1542203836" sldId="2147472035"/>
            <ac:spMk id="18" creationId="{8FEA8840-B043-F1FA-BE0D-E8414FA7C513}"/>
          </ac:spMkLst>
        </pc:spChg>
        <pc:spChg chg="del mod">
          <ac:chgData name="Michelle Norney2" userId="3937aebc-2741-4f72-aed9-694b0b032dac" providerId="ADAL" clId="{0BCB4E03-C41E-47E0-AF4B-EC5E1FE6172F}" dt="2023-10-25T12:54:50.894" v="979" actId="478"/>
          <ac:spMkLst>
            <pc:docMk/>
            <pc:sldMk cId="1542203836" sldId="2147472035"/>
            <ac:spMk id="24" creationId="{5EF53451-875F-B051-FED2-8E8F081035B5}"/>
          </ac:spMkLst>
        </pc:spChg>
      </pc:sldChg>
      <pc:sldChg chg="modSp mod">
        <pc:chgData name="Michelle Norney2" userId="3937aebc-2741-4f72-aed9-694b0b032dac" providerId="ADAL" clId="{0BCB4E03-C41E-47E0-AF4B-EC5E1FE6172F}" dt="2023-10-25T13:01:05.656" v="1369" actId="33524"/>
        <pc:sldMkLst>
          <pc:docMk/>
          <pc:sldMk cId="1323027410" sldId="2147472036"/>
        </pc:sldMkLst>
        <pc:spChg chg="mod">
          <ac:chgData name="Michelle Norney2" userId="3937aebc-2741-4f72-aed9-694b0b032dac" providerId="ADAL" clId="{0BCB4E03-C41E-47E0-AF4B-EC5E1FE6172F}" dt="2023-10-25T13:00:29.907" v="1354" actId="13926"/>
          <ac:spMkLst>
            <pc:docMk/>
            <pc:sldMk cId="1323027410" sldId="2147472036"/>
            <ac:spMk id="2" creationId="{3F85F59C-A2EC-295D-B2D3-2401254C9B72}"/>
          </ac:spMkLst>
        </pc:spChg>
        <pc:spChg chg="mod">
          <ac:chgData name="Michelle Norney2" userId="3937aebc-2741-4f72-aed9-694b0b032dac" providerId="ADAL" clId="{0BCB4E03-C41E-47E0-AF4B-EC5E1FE6172F}" dt="2023-10-25T13:01:05.656" v="1369" actId="33524"/>
          <ac:spMkLst>
            <pc:docMk/>
            <pc:sldMk cId="1323027410" sldId="2147472036"/>
            <ac:spMk id="16" creationId="{15A99F18-19BD-F60F-C85C-2287213DB278}"/>
          </ac:spMkLst>
        </pc:spChg>
        <pc:spChg chg="mod">
          <ac:chgData name="Michelle Norney2" userId="3937aebc-2741-4f72-aed9-694b0b032dac" providerId="ADAL" clId="{0BCB4E03-C41E-47E0-AF4B-EC5E1FE6172F}" dt="2023-10-25T12:56:05.793" v="1049" actId="20577"/>
          <ac:spMkLst>
            <pc:docMk/>
            <pc:sldMk cId="1323027410" sldId="2147472036"/>
            <ac:spMk id="22" creationId="{B70017F2-1B35-E915-B464-2EB1BF27A821}"/>
          </ac:spMkLst>
        </pc:spChg>
        <pc:spChg chg="mod">
          <ac:chgData name="Michelle Norney2" userId="3937aebc-2741-4f72-aed9-694b0b032dac" providerId="ADAL" clId="{0BCB4E03-C41E-47E0-AF4B-EC5E1FE6172F}" dt="2023-10-25T12:56:39.738" v="1058" actId="6549"/>
          <ac:spMkLst>
            <pc:docMk/>
            <pc:sldMk cId="1323027410" sldId="2147472036"/>
            <ac:spMk id="31" creationId="{993636DC-3CC7-D044-CD76-CAD2CF7B2CB4}"/>
          </ac:spMkLst>
        </pc:spChg>
      </pc:sldChg>
      <pc:sldChg chg="addSp delSp modSp del mod">
        <pc:chgData name="Michelle Norney2" userId="3937aebc-2741-4f72-aed9-694b0b032dac" providerId="ADAL" clId="{0BCB4E03-C41E-47E0-AF4B-EC5E1FE6172F}" dt="2023-10-25T13:00:56.982" v="1368" actId="47"/>
        <pc:sldMkLst>
          <pc:docMk/>
          <pc:sldMk cId="1635924386" sldId="2147472037"/>
        </pc:sldMkLst>
        <pc:spChg chg="mod">
          <ac:chgData name="Michelle Norney2" userId="3937aebc-2741-4f72-aed9-694b0b032dac" providerId="ADAL" clId="{0BCB4E03-C41E-47E0-AF4B-EC5E1FE6172F}" dt="2023-10-25T13:00:43.753" v="1365" actId="13926"/>
          <ac:spMkLst>
            <pc:docMk/>
            <pc:sldMk cId="1635924386" sldId="2147472037"/>
            <ac:spMk id="2" creationId="{3F85F59C-A2EC-295D-B2D3-2401254C9B72}"/>
          </ac:spMkLst>
        </pc:spChg>
        <pc:spChg chg="add del">
          <ac:chgData name="Michelle Norney2" userId="3937aebc-2741-4f72-aed9-694b0b032dac" providerId="ADAL" clId="{0BCB4E03-C41E-47E0-AF4B-EC5E1FE6172F}" dt="2023-10-25T13:00:49.780" v="1366" actId="478"/>
          <ac:spMkLst>
            <pc:docMk/>
            <pc:sldMk cId="1635924386" sldId="2147472037"/>
            <ac:spMk id="5" creationId="{27564185-784A-7304-A2F9-6B81BB7B42DD}"/>
          </ac:spMkLst>
        </pc:spChg>
        <pc:picChg chg="del">
          <ac:chgData name="Michelle Norney2" userId="3937aebc-2741-4f72-aed9-694b0b032dac" providerId="ADAL" clId="{0BCB4E03-C41E-47E0-AF4B-EC5E1FE6172F}" dt="2023-10-25T13:00:52.859" v="1367" actId="478"/>
          <ac:picMkLst>
            <pc:docMk/>
            <pc:sldMk cId="1635924386" sldId="2147472037"/>
            <ac:picMk id="3" creationId="{D0236C4E-B4D2-3623-55C9-DFE3B4EE433D}"/>
          </ac:picMkLst>
        </pc:picChg>
      </pc:sldChg>
      <pc:sldChg chg="modSp mod">
        <pc:chgData name="Michelle Norney2" userId="3937aebc-2741-4f72-aed9-694b0b032dac" providerId="ADAL" clId="{0BCB4E03-C41E-47E0-AF4B-EC5E1FE6172F}" dt="2023-10-25T13:05:07.816" v="1784" actId="20577"/>
        <pc:sldMkLst>
          <pc:docMk/>
          <pc:sldMk cId="3106755006" sldId="2147472038"/>
        </pc:sldMkLst>
        <pc:spChg chg="mod">
          <ac:chgData name="Michelle Norney2" userId="3937aebc-2741-4f72-aed9-694b0b032dac" providerId="ADAL" clId="{0BCB4E03-C41E-47E0-AF4B-EC5E1FE6172F}" dt="2023-10-25T13:02:03.385" v="1382" actId="13926"/>
          <ac:spMkLst>
            <pc:docMk/>
            <pc:sldMk cId="3106755006" sldId="2147472038"/>
            <ac:spMk id="2" creationId="{3F85F59C-A2EC-295D-B2D3-2401254C9B72}"/>
          </ac:spMkLst>
        </pc:spChg>
        <pc:spChg chg="mod">
          <ac:chgData name="Michelle Norney2" userId="3937aebc-2741-4f72-aed9-694b0b032dac" providerId="ADAL" clId="{0BCB4E03-C41E-47E0-AF4B-EC5E1FE6172F}" dt="2023-10-25T13:05:07.816" v="1784" actId="20577"/>
          <ac:spMkLst>
            <pc:docMk/>
            <pc:sldMk cId="3106755006" sldId="2147472038"/>
            <ac:spMk id="4" creationId="{A0D27386-B48F-BA51-8EE3-63D26F649855}"/>
          </ac:spMkLst>
        </pc:spChg>
      </pc:sldChg>
      <pc:sldChg chg="addSp delSp modSp mod">
        <pc:chgData name="Michelle Norney2" userId="3937aebc-2741-4f72-aed9-694b0b032dac" providerId="ADAL" clId="{0BCB4E03-C41E-47E0-AF4B-EC5E1FE6172F}" dt="2023-10-25T13:11:03.779" v="1964" actId="21"/>
        <pc:sldMkLst>
          <pc:docMk/>
          <pc:sldMk cId="2203752862" sldId="2147472040"/>
        </pc:sldMkLst>
        <pc:spChg chg="mod">
          <ac:chgData name="Michelle Norney2" userId="3937aebc-2741-4f72-aed9-694b0b032dac" providerId="ADAL" clId="{0BCB4E03-C41E-47E0-AF4B-EC5E1FE6172F}" dt="2023-10-25T13:06:13.172" v="1795" actId="13926"/>
          <ac:spMkLst>
            <pc:docMk/>
            <pc:sldMk cId="2203752862" sldId="2147472040"/>
            <ac:spMk id="2" creationId="{3F85F59C-A2EC-295D-B2D3-2401254C9B72}"/>
          </ac:spMkLst>
        </pc:spChg>
        <pc:spChg chg="del mod">
          <ac:chgData name="Michelle Norney2" userId="3937aebc-2741-4f72-aed9-694b0b032dac" providerId="ADAL" clId="{0BCB4E03-C41E-47E0-AF4B-EC5E1FE6172F}" dt="2023-10-25T13:06:29.723" v="1801" actId="478"/>
          <ac:spMkLst>
            <pc:docMk/>
            <pc:sldMk cId="2203752862" sldId="2147472040"/>
            <ac:spMk id="3" creationId="{31052FE0-E951-FF00-5808-7BA25605D1FE}"/>
          </ac:spMkLst>
        </pc:spChg>
        <pc:spChg chg="mod">
          <ac:chgData name="Michelle Norney2" userId="3937aebc-2741-4f72-aed9-694b0b032dac" providerId="ADAL" clId="{0BCB4E03-C41E-47E0-AF4B-EC5E1FE6172F}" dt="2023-10-25T13:07:33.114" v="1877" actId="20577"/>
          <ac:spMkLst>
            <pc:docMk/>
            <pc:sldMk cId="2203752862" sldId="2147472040"/>
            <ac:spMk id="4" creationId="{A0D27386-B48F-BA51-8EE3-63D26F649855}"/>
          </ac:spMkLst>
        </pc:spChg>
        <pc:spChg chg="del mod">
          <ac:chgData name="Michelle Norney2" userId="3937aebc-2741-4f72-aed9-694b0b032dac" providerId="ADAL" clId="{0BCB4E03-C41E-47E0-AF4B-EC5E1FE6172F}" dt="2023-10-25T13:06:33.383" v="1804" actId="478"/>
          <ac:spMkLst>
            <pc:docMk/>
            <pc:sldMk cId="2203752862" sldId="2147472040"/>
            <ac:spMk id="5" creationId="{AAF26714-688B-BEB1-126F-7C7A3E2C4261}"/>
          </ac:spMkLst>
        </pc:spChg>
        <pc:spChg chg="add mod">
          <ac:chgData name="Michelle Norney2" userId="3937aebc-2741-4f72-aed9-694b0b032dac" providerId="ADAL" clId="{0BCB4E03-C41E-47E0-AF4B-EC5E1FE6172F}" dt="2023-10-25T13:10:20.236" v="1959" actId="14100"/>
          <ac:spMkLst>
            <pc:docMk/>
            <pc:sldMk cId="2203752862" sldId="2147472040"/>
            <ac:spMk id="7" creationId="{820E720A-FE7B-9B6E-E0AE-116C93E7F97C}"/>
          </ac:spMkLst>
        </pc:spChg>
        <pc:picChg chg="add mod">
          <ac:chgData name="Michelle Norney2" userId="3937aebc-2741-4f72-aed9-694b0b032dac" providerId="ADAL" clId="{0BCB4E03-C41E-47E0-AF4B-EC5E1FE6172F}" dt="2023-10-25T13:10:52.052" v="1961" actId="1076"/>
          <ac:picMkLst>
            <pc:docMk/>
            <pc:sldMk cId="2203752862" sldId="2147472040"/>
            <ac:picMk id="6" creationId="{929070B9-C7F6-3314-F1BF-4DF150B90F6D}"/>
          </ac:picMkLst>
        </pc:picChg>
        <pc:picChg chg="add del">
          <ac:chgData name="Michelle Norney2" userId="3937aebc-2741-4f72-aed9-694b0b032dac" providerId="ADAL" clId="{0BCB4E03-C41E-47E0-AF4B-EC5E1FE6172F}" dt="2023-10-25T13:07:02.731" v="1807" actId="478"/>
          <ac:picMkLst>
            <pc:docMk/>
            <pc:sldMk cId="2203752862" sldId="2147472040"/>
            <ac:picMk id="8" creationId="{3D568A20-13CB-E4CD-83B5-1B02EDF49B1A}"/>
          </ac:picMkLst>
        </pc:picChg>
        <pc:picChg chg="add del mod">
          <ac:chgData name="Michelle Norney2" userId="3937aebc-2741-4f72-aed9-694b0b032dac" providerId="ADAL" clId="{0BCB4E03-C41E-47E0-AF4B-EC5E1FE6172F}" dt="2023-10-25T13:11:03.779" v="1964" actId="21"/>
          <ac:picMkLst>
            <pc:docMk/>
            <pc:sldMk cId="2203752862" sldId="2147472040"/>
            <ac:picMk id="9" creationId="{D4BF59E5-F446-4641-A9D7-9ADC5D45D716}"/>
          </ac:picMkLst>
        </pc:picChg>
      </pc:sldChg>
      <pc:sldChg chg="addSp delSp modSp add mod">
        <pc:chgData name="Michelle Norney2" userId="3937aebc-2741-4f72-aed9-694b0b032dac" providerId="ADAL" clId="{0BCB4E03-C41E-47E0-AF4B-EC5E1FE6172F}" dt="2023-10-25T13:41:44.397" v="3422" actId="20577"/>
        <pc:sldMkLst>
          <pc:docMk/>
          <pc:sldMk cId="1763599595" sldId="2147472041"/>
        </pc:sldMkLst>
        <pc:spChg chg="add del mod">
          <ac:chgData name="Michelle Norney2" userId="3937aebc-2741-4f72-aed9-694b0b032dac" providerId="ADAL" clId="{0BCB4E03-C41E-47E0-AF4B-EC5E1FE6172F}" dt="2023-10-25T13:12:54.833" v="2003" actId="478"/>
          <ac:spMkLst>
            <pc:docMk/>
            <pc:sldMk cId="1763599595" sldId="2147472041"/>
            <ac:spMk id="3" creationId="{3E80FB74-473B-D0CF-4211-063885BE1144}"/>
          </ac:spMkLst>
        </pc:spChg>
        <pc:spChg chg="mod">
          <ac:chgData name="Michelle Norney2" userId="3937aebc-2741-4f72-aed9-694b0b032dac" providerId="ADAL" clId="{0BCB4E03-C41E-47E0-AF4B-EC5E1FE6172F}" dt="2023-10-25T13:29:19.277" v="2889" actId="1076"/>
          <ac:spMkLst>
            <pc:docMk/>
            <pc:sldMk cId="1763599595" sldId="2147472041"/>
            <ac:spMk id="4" creationId="{A0D27386-B48F-BA51-8EE3-63D26F649855}"/>
          </ac:spMkLst>
        </pc:spChg>
        <pc:spChg chg="add del mod">
          <ac:chgData name="Michelle Norney2" userId="3937aebc-2741-4f72-aed9-694b0b032dac" providerId="ADAL" clId="{0BCB4E03-C41E-47E0-AF4B-EC5E1FE6172F}" dt="2023-10-25T13:29:19.277" v="2889" actId="1076"/>
          <ac:spMkLst>
            <pc:docMk/>
            <pc:sldMk cId="1763599595" sldId="2147472041"/>
            <ac:spMk id="9" creationId="{85C1F183-14E6-7C4B-DD2A-2765290EC465}"/>
          </ac:spMkLst>
        </pc:spChg>
        <pc:spChg chg="add del mod">
          <ac:chgData name="Michelle Norney2" userId="3937aebc-2741-4f72-aed9-694b0b032dac" providerId="ADAL" clId="{0BCB4E03-C41E-47E0-AF4B-EC5E1FE6172F}" dt="2023-10-25T13:14:58.158" v="2128" actId="478"/>
          <ac:spMkLst>
            <pc:docMk/>
            <pc:sldMk cId="1763599595" sldId="2147472041"/>
            <ac:spMk id="11" creationId="{8B501758-7375-E8FE-3A73-0B47E9BE8EFF}"/>
          </ac:spMkLst>
        </pc:spChg>
        <pc:spChg chg="add del mod">
          <ac:chgData name="Michelle Norney2" userId="3937aebc-2741-4f72-aed9-694b0b032dac" providerId="ADAL" clId="{0BCB4E03-C41E-47E0-AF4B-EC5E1FE6172F}" dt="2023-10-25T13:29:19.277" v="2889" actId="1076"/>
          <ac:spMkLst>
            <pc:docMk/>
            <pc:sldMk cId="1763599595" sldId="2147472041"/>
            <ac:spMk id="12" creationId="{4FF5B601-35F1-F76F-BAEE-47D9B7554E7C}"/>
          </ac:spMkLst>
        </pc:spChg>
        <pc:spChg chg="add del mod">
          <ac:chgData name="Michelle Norney2" userId="3937aebc-2741-4f72-aed9-694b0b032dac" providerId="ADAL" clId="{0BCB4E03-C41E-47E0-AF4B-EC5E1FE6172F}" dt="2023-10-25T13:29:19.277" v="2889" actId="1076"/>
          <ac:spMkLst>
            <pc:docMk/>
            <pc:sldMk cId="1763599595" sldId="2147472041"/>
            <ac:spMk id="13" creationId="{BCD0A286-13D0-9902-8224-B6D74F9A478E}"/>
          </ac:spMkLst>
        </pc:spChg>
        <pc:spChg chg="add del mod">
          <ac:chgData name="Michelle Norney2" userId="3937aebc-2741-4f72-aed9-694b0b032dac" providerId="ADAL" clId="{0BCB4E03-C41E-47E0-AF4B-EC5E1FE6172F}" dt="2023-10-25T13:20:33.362" v="2295" actId="478"/>
          <ac:spMkLst>
            <pc:docMk/>
            <pc:sldMk cId="1763599595" sldId="2147472041"/>
            <ac:spMk id="14" creationId="{D4CD516B-0AF1-4D8F-419F-42229179B0FE}"/>
          </ac:spMkLst>
        </pc:spChg>
        <pc:spChg chg="add del mod">
          <ac:chgData name="Michelle Norney2" userId="3937aebc-2741-4f72-aed9-694b0b032dac" providerId="ADAL" clId="{0BCB4E03-C41E-47E0-AF4B-EC5E1FE6172F}" dt="2023-10-25T13:21:54.381" v="2314" actId="478"/>
          <ac:spMkLst>
            <pc:docMk/>
            <pc:sldMk cId="1763599595" sldId="2147472041"/>
            <ac:spMk id="15" creationId="{E55A9EF9-6263-7ADF-C844-212FFD79352A}"/>
          </ac:spMkLst>
        </pc:spChg>
        <pc:spChg chg="add del mod">
          <ac:chgData name="Michelle Norney2" userId="3937aebc-2741-4f72-aed9-694b0b032dac" providerId="ADAL" clId="{0BCB4E03-C41E-47E0-AF4B-EC5E1FE6172F}" dt="2023-10-25T13:21:42.373" v="2311" actId="478"/>
          <ac:spMkLst>
            <pc:docMk/>
            <pc:sldMk cId="1763599595" sldId="2147472041"/>
            <ac:spMk id="16" creationId="{49ADEBC0-F42D-C747-BD60-C392D3B1026F}"/>
          </ac:spMkLst>
        </pc:spChg>
        <pc:spChg chg="add del mod">
          <ac:chgData name="Michelle Norney2" userId="3937aebc-2741-4f72-aed9-694b0b032dac" providerId="ADAL" clId="{0BCB4E03-C41E-47E0-AF4B-EC5E1FE6172F}" dt="2023-10-25T13:19:55.005" v="2286"/>
          <ac:spMkLst>
            <pc:docMk/>
            <pc:sldMk cId="1763599595" sldId="2147472041"/>
            <ac:spMk id="17" creationId="{8C30DD0E-D912-E544-61A2-8A815CDA9011}"/>
          </ac:spMkLst>
        </pc:spChg>
        <pc:spChg chg="add mod">
          <ac:chgData name="Michelle Norney2" userId="3937aebc-2741-4f72-aed9-694b0b032dac" providerId="ADAL" clId="{0BCB4E03-C41E-47E0-AF4B-EC5E1FE6172F}" dt="2023-10-25T13:32:22.355" v="3123" actId="1076"/>
          <ac:spMkLst>
            <pc:docMk/>
            <pc:sldMk cId="1763599595" sldId="2147472041"/>
            <ac:spMk id="22" creationId="{361220A6-2842-7AE2-A0A5-DA91106F7678}"/>
          </ac:spMkLst>
        </pc:spChg>
        <pc:spChg chg="add del mod">
          <ac:chgData name="Michelle Norney2" userId="3937aebc-2741-4f72-aed9-694b0b032dac" providerId="ADAL" clId="{0BCB4E03-C41E-47E0-AF4B-EC5E1FE6172F}" dt="2023-10-25T13:31:47.804" v="3113" actId="478"/>
          <ac:spMkLst>
            <pc:docMk/>
            <pc:sldMk cId="1763599595" sldId="2147472041"/>
            <ac:spMk id="23" creationId="{B17B2CC7-E549-9C73-5B51-4EC7564C77BD}"/>
          </ac:spMkLst>
        </pc:spChg>
        <pc:spChg chg="add mod">
          <ac:chgData name="Michelle Norney2" userId="3937aebc-2741-4f72-aed9-694b0b032dac" providerId="ADAL" clId="{0BCB4E03-C41E-47E0-AF4B-EC5E1FE6172F}" dt="2023-10-25T13:31:59.021" v="3117" actId="1076"/>
          <ac:spMkLst>
            <pc:docMk/>
            <pc:sldMk cId="1763599595" sldId="2147472041"/>
            <ac:spMk id="24" creationId="{7B36078E-6B58-4272-CED3-7CB1FCB3E049}"/>
          </ac:spMkLst>
        </pc:spChg>
        <pc:spChg chg="add mod">
          <ac:chgData name="Michelle Norney2" userId="3937aebc-2741-4f72-aed9-694b0b032dac" providerId="ADAL" clId="{0BCB4E03-C41E-47E0-AF4B-EC5E1FE6172F}" dt="2023-10-25T13:35:04.792" v="3217" actId="1076"/>
          <ac:spMkLst>
            <pc:docMk/>
            <pc:sldMk cId="1763599595" sldId="2147472041"/>
            <ac:spMk id="25" creationId="{B329E440-3363-4946-6A08-3AE4B71DE5DB}"/>
          </ac:spMkLst>
        </pc:spChg>
        <pc:spChg chg="add mod">
          <ac:chgData name="Michelle Norney2" userId="3937aebc-2741-4f72-aed9-694b0b032dac" providerId="ADAL" clId="{0BCB4E03-C41E-47E0-AF4B-EC5E1FE6172F}" dt="2023-10-25T13:41:44.397" v="3422" actId="20577"/>
          <ac:spMkLst>
            <pc:docMk/>
            <pc:sldMk cId="1763599595" sldId="2147472041"/>
            <ac:spMk id="26" creationId="{FAF018A6-6691-D751-5445-6BD060CF83E0}"/>
          </ac:spMkLst>
        </pc:spChg>
        <pc:picChg chg="add del mod">
          <ac:chgData name="Michelle Norney2" userId="3937aebc-2741-4f72-aed9-694b0b032dac" providerId="ADAL" clId="{0BCB4E03-C41E-47E0-AF4B-EC5E1FE6172F}" dt="2023-10-25T13:12:28.039" v="1977" actId="478"/>
          <ac:picMkLst>
            <pc:docMk/>
            <pc:sldMk cId="1763599595" sldId="2147472041"/>
            <ac:picMk id="5" creationId="{16F25F1E-90D0-92DE-AB83-E8B3C448DE95}"/>
          </ac:picMkLst>
        </pc:picChg>
        <pc:picChg chg="del">
          <ac:chgData name="Michelle Norney2" userId="3937aebc-2741-4f72-aed9-694b0b032dac" providerId="ADAL" clId="{0BCB4E03-C41E-47E0-AF4B-EC5E1FE6172F}" dt="2023-10-25T13:08:33.814" v="1883" actId="478"/>
          <ac:picMkLst>
            <pc:docMk/>
            <pc:sldMk cId="1763599595" sldId="2147472041"/>
            <ac:picMk id="6" creationId="{929070B9-C7F6-3314-F1BF-4DF150B90F6D}"/>
          </ac:picMkLst>
        </pc:picChg>
        <pc:picChg chg="add del mod">
          <ac:chgData name="Michelle Norney2" userId="3937aebc-2741-4f72-aed9-694b0b032dac" providerId="ADAL" clId="{0BCB4E03-C41E-47E0-AF4B-EC5E1FE6172F}" dt="2023-10-25T13:12:28.039" v="1977" actId="478"/>
          <ac:picMkLst>
            <pc:docMk/>
            <pc:sldMk cId="1763599595" sldId="2147472041"/>
            <ac:picMk id="7" creationId="{5BF5E772-5229-0E80-AD70-4A5ECB2E7B73}"/>
          </ac:picMkLst>
        </pc:picChg>
        <pc:picChg chg="add del mod modCrop">
          <ac:chgData name="Michelle Norney2" userId="3937aebc-2741-4f72-aed9-694b0b032dac" providerId="ADAL" clId="{0BCB4E03-C41E-47E0-AF4B-EC5E1FE6172F}" dt="2023-10-25T13:29:19.277" v="2889" actId="1076"/>
          <ac:picMkLst>
            <pc:docMk/>
            <pc:sldMk cId="1763599595" sldId="2147472041"/>
            <ac:picMk id="8" creationId="{49181471-0037-2FF2-2C32-80A582F7190E}"/>
          </ac:picMkLst>
        </pc:picChg>
        <pc:picChg chg="add del mod modCrop">
          <ac:chgData name="Michelle Norney2" userId="3937aebc-2741-4f72-aed9-694b0b032dac" providerId="ADAL" clId="{0BCB4E03-C41E-47E0-AF4B-EC5E1FE6172F}" dt="2023-10-25T13:20:35.298" v="2296" actId="478"/>
          <ac:picMkLst>
            <pc:docMk/>
            <pc:sldMk cId="1763599595" sldId="2147472041"/>
            <ac:picMk id="18" creationId="{0A0D0930-E706-C272-65D2-B079E06442B2}"/>
          </ac:picMkLst>
        </pc:picChg>
        <pc:picChg chg="add mod modCrop">
          <ac:chgData name="Michelle Norney2" userId="3937aebc-2741-4f72-aed9-694b0b032dac" providerId="ADAL" clId="{0BCB4E03-C41E-47E0-AF4B-EC5E1FE6172F}" dt="2023-10-25T13:29:19.277" v="2889" actId="1076"/>
          <ac:picMkLst>
            <pc:docMk/>
            <pc:sldMk cId="1763599595" sldId="2147472041"/>
            <ac:picMk id="19" creationId="{8FE86BF0-BDCB-113B-2555-B8E1D4FF6ED2}"/>
          </ac:picMkLst>
        </pc:picChg>
        <pc:picChg chg="add del mod">
          <ac:chgData name="Michelle Norney2" userId="3937aebc-2741-4f72-aed9-694b0b032dac" providerId="ADAL" clId="{0BCB4E03-C41E-47E0-AF4B-EC5E1FE6172F}" dt="2023-10-25T13:21:12.155" v="2305" actId="478"/>
          <ac:picMkLst>
            <pc:docMk/>
            <pc:sldMk cId="1763599595" sldId="2147472041"/>
            <ac:picMk id="20" creationId="{4E4606A6-CAC4-F772-2939-96CF8FFF2DD7}"/>
          </ac:picMkLst>
        </pc:picChg>
        <pc:picChg chg="add mod modCrop">
          <ac:chgData name="Michelle Norney2" userId="3937aebc-2741-4f72-aed9-694b0b032dac" providerId="ADAL" clId="{0BCB4E03-C41E-47E0-AF4B-EC5E1FE6172F}" dt="2023-10-25T13:29:19.277" v="2889" actId="1076"/>
          <ac:picMkLst>
            <pc:docMk/>
            <pc:sldMk cId="1763599595" sldId="2147472041"/>
            <ac:picMk id="21" creationId="{5B381201-8973-1852-EA27-7A1C27F3A8BD}"/>
          </ac:picMkLst>
        </pc:picChg>
      </pc:sldChg>
      <pc:sldChg chg="addSp delSp modSp add mod">
        <pc:chgData name="Michelle Norney2" userId="3937aebc-2741-4f72-aed9-694b0b032dac" providerId="ADAL" clId="{0BCB4E03-C41E-47E0-AF4B-EC5E1FE6172F}" dt="2023-10-25T15:58:43.433" v="3716" actId="1076"/>
        <pc:sldMkLst>
          <pc:docMk/>
          <pc:sldMk cId="3666260482" sldId="2147472042"/>
        </pc:sldMkLst>
        <pc:spChg chg="add mod">
          <ac:chgData name="Michelle Norney2" userId="3937aebc-2741-4f72-aed9-694b0b032dac" providerId="ADAL" clId="{0BCB4E03-C41E-47E0-AF4B-EC5E1FE6172F}" dt="2023-10-25T13:37:53.467" v="3374" actId="20577"/>
          <ac:spMkLst>
            <pc:docMk/>
            <pc:sldMk cId="3666260482" sldId="2147472042"/>
            <ac:spMk id="5" creationId="{86C2A50B-47F1-E400-4375-FCFF072CCDF5}"/>
          </ac:spMkLst>
        </pc:spChg>
        <pc:spChg chg="del">
          <ac:chgData name="Michelle Norney2" userId="3937aebc-2741-4f72-aed9-694b0b032dac" providerId="ADAL" clId="{0BCB4E03-C41E-47E0-AF4B-EC5E1FE6172F}" dt="2023-10-25T13:29:33.319" v="2894" actId="478"/>
          <ac:spMkLst>
            <pc:docMk/>
            <pc:sldMk cId="3666260482" sldId="2147472042"/>
            <ac:spMk id="9" creationId="{85C1F183-14E6-7C4B-DD2A-2765290EC465}"/>
          </ac:spMkLst>
        </pc:spChg>
        <pc:spChg chg="add mod">
          <ac:chgData name="Michelle Norney2" userId="3937aebc-2741-4f72-aed9-694b0b032dac" providerId="ADAL" clId="{0BCB4E03-C41E-47E0-AF4B-EC5E1FE6172F}" dt="2023-10-25T15:03:34.623" v="3626" actId="20577"/>
          <ac:spMkLst>
            <pc:docMk/>
            <pc:sldMk cId="3666260482" sldId="2147472042"/>
            <ac:spMk id="10" creationId="{3A745818-617C-23E7-4214-C7DBFD72BC0A}"/>
          </ac:spMkLst>
        </pc:spChg>
        <pc:spChg chg="del">
          <ac:chgData name="Michelle Norney2" userId="3937aebc-2741-4f72-aed9-694b0b032dac" providerId="ADAL" clId="{0BCB4E03-C41E-47E0-AF4B-EC5E1FE6172F}" dt="2023-10-25T13:29:34.424" v="2895" actId="478"/>
          <ac:spMkLst>
            <pc:docMk/>
            <pc:sldMk cId="3666260482" sldId="2147472042"/>
            <ac:spMk id="12" creationId="{4FF5B601-35F1-F76F-BAEE-47D9B7554E7C}"/>
          </ac:spMkLst>
        </pc:spChg>
        <pc:spChg chg="del">
          <ac:chgData name="Michelle Norney2" userId="3937aebc-2741-4f72-aed9-694b0b032dac" providerId="ADAL" clId="{0BCB4E03-C41E-47E0-AF4B-EC5E1FE6172F}" dt="2023-10-25T13:29:29.847" v="2891" actId="478"/>
          <ac:spMkLst>
            <pc:docMk/>
            <pc:sldMk cId="3666260482" sldId="2147472042"/>
            <ac:spMk id="13" creationId="{BCD0A286-13D0-9902-8224-B6D74F9A478E}"/>
          </ac:spMkLst>
        </pc:spChg>
        <pc:spChg chg="del">
          <ac:chgData name="Michelle Norney2" userId="3937aebc-2741-4f72-aed9-694b0b032dac" providerId="ADAL" clId="{0BCB4E03-C41E-47E0-AF4B-EC5E1FE6172F}" dt="2023-10-25T13:29:30.607" v="2892" actId="478"/>
          <ac:spMkLst>
            <pc:docMk/>
            <pc:sldMk cId="3666260482" sldId="2147472042"/>
            <ac:spMk id="14" creationId="{D4CD516B-0AF1-4D8F-419F-42229179B0FE}"/>
          </ac:spMkLst>
        </pc:spChg>
        <pc:spChg chg="mod">
          <ac:chgData name="Michelle Norney2" userId="3937aebc-2741-4f72-aed9-694b0b032dac" providerId="ADAL" clId="{0BCB4E03-C41E-47E0-AF4B-EC5E1FE6172F}" dt="2023-10-25T13:37:11.587" v="3311" actId="1076"/>
          <ac:spMkLst>
            <pc:docMk/>
            <pc:sldMk cId="3666260482" sldId="2147472042"/>
            <ac:spMk id="15" creationId="{E55A9EF9-6263-7ADF-C844-212FFD79352A}"/>
          </ac:spMkLst>
        </pc:spChg>
        <pc:spChg chg="del">
          <ac:chgData name="Michelle Norney2" userId="3937aebc-2741-4f72-aed9-694b0b032dac" providerId="ADAL" clId="{0BCB4E03-C41E-47E0-AF4B-EC5E1FE6172F}" dt="2023-10-25T13:29:32.016" v="2893" actId="478"/>
          <ac:spMkLst>
            <pc:docMk/>
            <pc:sldMk cId="3666260482" sldId="2147472042"/>
            <ac:spMk id="16" creationId="{49ADEBC0-F42D-C747-BD60-C392D3B1026F}"/>
          </ac:spMkLst>
        </pc:spChg>
        <pc:spChg chg="add mod">
          <ac:chgData name="Michelle Norney2" userId="3937aebc-2741-4f72-aed9-694b0b032dac" providerId="ADAL" clId="{0BCB4E03-C41E-47E0-AF4B-EC5E1FE6172F}" dt="2023-10-25T15:00:22.861" v="3560" actId="1076"/>
          <ac:spMkLst>
            <pc:docMk/>
            <pc:sldMk cId="3666260482" sldId="2147472042"/>
            <ac:spMk id="19" creationId="{9B7C4998-6B3F-91E8-7862-CD10D59B48F5}"/>
          </ac:spMkLst>
        </pc:spChg>
        <pc:spChg chg="add mod">
          <ac:chgData name="Michelle Norney2" userId="3937aebc-2741-4f72-aed9-694b0b032dac" providerId="ADAL" clId="{0BCB4E03-C41E-47E0-AF4B-EC5E1FE6172F}" dt="2023-10-25T15:00:46.726" v="3579" actId="20577"/>
          <ac:spMkLst>
            <pc:docMk/>
            <pc:sldMk cId="3666260482" sldId="2147472042"/>
            <ac:spMk id="20" creationId="{54A890A6-E4A1-0297-36BE-C4A0C1F10C7D}"/>
          </ac:spMkLst>
        </pc:spChg>
        <pc:spChg chg="add mod">
          <ac:chgData name="Michelle Norney2" userId="3937aebc-2741-4f72-aed9-694b0b032dac" providerId="ADAL" clId="{0BCB4E03-C41E-47E0-AF4B-EC5E1FE6172F}" dt="2023-10-25T15:01:20.241" v="3607" actId="20577"/>
          <ac:spMkLst>
            <pc:docMk/>
            <pc:sldMk cId="3666260482" sldId="2147472042"/>
            <ac:spMk id="21" creationId="{1F05FE15-3494-DA50-63B6-C965209ADD44}"/>
          </ac:spMkLst>
        </pc:spChg>
        <pc:spChg chg="add del">
          <ac:chgData name="Michelle Norney2" userId="3937aebc-2741-4f72-aed9-694b0b032dac" providerId="ADAL" clId="{0BCB4E03-C41E-47E0-AF4B-EC5E1FE6172F}" dt="2023-10-25T15:03:21.201" v="3619" actId="22"/>
          <ac:spMkLst>
            <pc:docMk/>
            <pc:sldMk cId="3666260482" sldId="2147472042"/>
            <ac:spMk id="23" creationId="{F746A35E-4D91-EC03-E107-0AB68E9819FB}"/>
          </ac:spMkLst>
        </pc:spChg>
        <pc:spChg chg="add mod">
          <ac:chgData name="Michelle Norney2" userId="3937aebc-2741-4f72-aed9-694b0b032dac" providerId="ADAL" clId="{0BCB4E03-C41E-47E0-AF4B-EC5E1FE6172F}" dt="2023-10-25T15:58:43.433" v="3716" actId="1076"/>
          <ac:spMkLst>
            <pc:docMk/>
            <pc:sldMk cId="3666260482" sldId="2147472042"/>
            <ac:spMk id="24" creationId="{90A816AB-E96F-3B5F-86B4-D245D463D03A}"/>
          </ac:spMkLst>
        </pc:spChg>
        <pc:picChg chg="add mod">
          <ac:chgData name="Michelle Norney2" userId="3937aebc-2741-4f72-aed9-694b0b032dac" providerId="ADAL" clId="{0BCB4E03-C41E-47E0-AF4B-EC5E1FE6172F}" dt="2023-10-25T13:34:18.027" v="3133" actId="14100"/>
          <ac:picMkLst>
            <pc:docMk/>
            <pc:sldMk cId="3666260482" sldId="2147472042"/>
            <ac:picMk id="3" creationId="{2C89A978-7A23-2A37-47DC-74095A96A080}"/>
          </ac:picMkLst>
        </pc:picChg>
        <pc:picChg chg="add mod">
          <ac:chgData name="Michelle Norney2" userId="3937aebc-2741-4f72-aed9-694b0b032dac" providerId="ADAL" clId="{0BCB4E03-C41E-47E0-AF4B-EC5E1FE6172F}" dt="2023-10-25T15:00:04.042" v="3557" actId="1076"/>
          <ac:picMkLst>
            <pc:docMk/>
            <pc:sldMk cId="3666260482" sldId="2147472042"/>
            <ac:picMk id="7" creationId="{FE226D7E-197D-2677-7997-7E092B7DEFA4}"/>
          </ac:picMkLst>
        </pc:picChg>
        <pc:picChg chg="del">
          <ac:chgData name="Michelle Norney2" userId="3937aebc-2741-4f72-aed9-694b0b032dac" providerId="ADAL" clId="{0BCB4E03-C41E-47E0-AF4B-EC5E1FE6172F}" dt="2023-10-25T13:29:27.959" v="2890" actId="478"/>
          <ac:picMkLst>
            <pc:docMk/>
            <pc:sldMk cId="3666260482" sldId="2147472042"/>
            <ac:picMk id="8" creationId="{49181471-0037-2FF2-2C32-80A582F7190E}"/>
          </ac:picMkLst>
        </pc:picChg>
        <pc:picChg chg="add mod modCrop">
          <ac:chgData name="Michelle Norney2" userId="3937aebc-2741-4f72-aed9-694b0b032dac" providerId="ADAL" clId="{0BCB4E03-C41E-47E0-AF4B-EC5E1FE6172F}" dt="2023-10-25T15:00:06.440" v="3558" actId="1076"/>
          <ac:picMkLst>
            <pc:docMk/>
            <pc:sldMk cId="3666260482" sldId="2147472042"/>
            <ac:picMk id="11" creationId="{37C4029E-F917-5217-2E29-709580FB2F17}"/>
          </ac:picMkLst>
        </pc:picChg>
        <pc:picChg chg="add mod modCrop">
          <ac:chgData name="Michelle Norney2" userId="3937aebc-2741-4f72-aed9-694b0b032dac" providerId="ADAL" clId="{0BCB4E03-C41E-47E0-AF4B-EC5E1FE6172F}" dt="2023-10-25T15:57:14.006" v="3700" actId="1076"/>
          <ac:picMkLst>
            <pc:docMk/>
            <pc:sldMk cId="3666260482" sldId="2147472042"/>
            <ac:picMk id="17" creationId="{3EF65BCF-C5D7-7064-9622-A572EDFFC41E}"/>
          </ac:picMkLst>
        </pc:picChg>
        <pc:picChg chg="mod">
          <ac:chgData name="Michelle Norney2" userId="3937aebc-2741-4f72-aed9-694b0b032dac" providerId="ADAL" clId="{0BCB4E03-C41E-47E0-AF4B-EC5E1FE6172F}" dt="2023-10-25T13:29:51.056" v="2896" actId="1076"/>
          <ac:picMkLst>
            <pc:docMk/>
            <pc:sldMk cId="3666260482" sldId="2147472042"/>
            <ac:picMk id="18" creationId="{0A0D0930-E706-C272-65D2-B079E06442B2}"/>
          </ac:picMkLst>
        </pc:picChg>
      </pc:sldChg>
    </pc:docChg>
  </pc:docChgLst>
  <pc:docChgLst>
    <pc:chgData name="Stanislav Mazitov" userId="1c9ea06c-70b9-4e3b-b3e9-11336fc93119" providerId="ADAL" clId="{FA9762FF-EEEE-4685-A34A-D740D6601C37}"/>
    <pc:docChg chg="undo redo custSel addSld delSld modSld">
      <pc:chgData name="Stanislav Mazitov" userId="1c9ea06c-70b9-4e3b-b3e9-11336fc93119" providerId="ADAL" clId="{FA9762FF-EEEE-4685-A34A-D740D6601C37}" dt="2023-11-01T15:22:06.329" v="53" actId="20577"/>
      <pc:docMkLst>
        <pc:docMk/>
      </pc:docMkLst>
      <pc:sldChg chg="modSp mod">
        <pc:chgData name="Stanislav Mazitov" userId="1c9ea06c-70b9-4e3b-b3e9-11336fc93119" providerId="ADAL" clId="{FA9762FF-EEEE-4685-A34A-D740D6601C37}" dt="2023-11-01T15:22:06.329" v="53" actId="20577"/>
        <pc:sldMkLst>
          <pc:docMk/>
          <pc:sldMk cId="875208388" sldId="2147471996"/>
        </pc:sldMkLst>
        <pc:spChg chg="mod">
          <ac:chgData name="Stanislav Mazitov" userId="1c9ea06c-70b9-4e3b-b3e9-11336fc93119" providerId="ADAL" clId="{FA9762FF-EEEE-4685-A34A-D740D6601C37}" dt="2023-11-01T15:22:06.329" v="53" actId="20577"/>
          <ac:spMkLst>
            <pc:docMk/>
            <pc:sldMk cId="875208388" sldId="2147471996"/>
            <ac:spMk id="4" creationId="{2B406FDB-34BD-6F4A-852F-261613E8244B}"/>
          </ac:spMkLst>
        </pc:spChg>
      </pc:sldChg>
      <pc:sldChg chg="modSp mod">
        <pc:chgData name="Stanislav Mazitov" userId="1c9ea06c-70b9-4e3b-b3e9-11336fc93119" providerId="ADAL" clId="{FA9762FF-EEEE-4685-A34A-D740D6601C37}" dt="2023-11-01T14:23:29.193" v="16" actId="20577"/>
        <pc:sldMkLst>
          <pc:docMk/>
          <pc:sldMk cId="3262348500" sldId="2147472032"/>
        </pc:sldMkLst>
        <pc:spChg chg="mod">
          <ac:chgData name="Stanislav Mazitov" userId="1c9ea06c-70b9-4e3b-b3e9-11336fc93119" providerId="ADAL" clId="{FA9762FF-EEEE-4685-A34A-D740D6601C37}" dt="2023-11-01T14:23:29.193" v="16" actId="20577"/>
          <ac:spMkLst>
            <pc:docMk/>
            <pc:sldMk cId="3262348500" sldId="2147472032"/>
            <ac:spMk id="7" creationId="{7D856D3E-573D-6E4F-FA15-95884CA81DB6}"/>
          </ac:spMkLst>
        </pc:spChg>
      </pc:sldChg>
      <pc:sldChg chg="modSp mod">
        <pc:chgData name="Stanislav Mazitov" userId="1c9ea06c-70b9-4e3b-b3e9-11336fc93119" providerId="ADAL" clId="{FA9762FF-EEEE-4685-A34A-D740D6601C37}" dt="2023-11-01T14:21:55.430" v="12" actId="20577"/>
        <pc:sldMkLst>
          <pc:docMk/>
          <pc:sldMk cId="1542203836" sldId="2147472035"/>
        </pc:sldMkLst>
        <pc:spChg chg="mod">
          <ac:chgData name="Stanislav Mazitov" userId="1c9ea06c-70b9-4e3b-b3e9-11336fc93119" providerId="ADAL" clId="{FA9762FF-EEEE-4685-A34A-D740D6601C37}" dt="2023-11-01T14:21:55.430" v="12" actId="20577"/>
          <ac:spMkLst>
            <pc:docMk/>
            <pc:sldMk cId="1542203836" sldId="2147472035"/>
            <ac:spMk id="2" creationId="{3F85F59C-A2EC-295D-B2D3-2401254C9B72}"/>
          </ac:spMkLst>
        </pc:spChg>
      </pc:sldChg>
      <pc:sldChg chg="modSp add del mod">
        <pc:chgData name="Stanislav Mazitov" userId="1c9ea06c-70b9-4e3b-b3e9-11336fc93119" providerId="ADAL" clId="{FA9762FF-EEEE-4685-A34A-D740D6601C37}" dt="2023-11-01T15:21:08.373" v="51" actId="20577"/>
        <pc:sldMkLst>
          <pc:docMk/>
          <pc:sldMk cId="1763599595" sldId="2147472041"/>
        </pc:sldMkLst>
        <pc:spChg chg="mod">
          <ac:chgData name="Stanislav Mazitov" userId="1c9ea06c-70b9-4e3b-b3e9-11336fc93119" providerId="ADAL" clId="{FA9762FF-EEEE-4685-A34A-D740D6601C37}" dt="2023-11-01T15:21:08.373" v="51" actId="20577"/>
          <ac:spMkLst>
            <pc:docMk/>
            <pc:sldMk cId="1763599595" sldId="2147472041"/>
            <ac:spMk id="3" creationId="{2EBFA11F-F634-3FAA-AB82-DA573BC7B8F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DB55A-9E83-444A-ABBA-3640B2BEB62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68F89-9919-441E-8382-5DE64A02B81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11876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540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4" name="object 7">
            <a:extLst>
              <a:ext uri="{FF2B5EF4-FFF2-40B4-BE49-F238E27FC236}">
                <a16:creationId xmlns:a16="http://schemas.microsoft.com/office/drawing/2014/main" id="{CE1695CC-DE5D-4EA2-AF67-96A46F5FACDE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30F8667-5C6C-B12D-73DB-1F1A7EBDAB53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5581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0" name="object 7">
            <a:extLst>
              <a:ext uri="{FF2B5EF4-FFF2-40B4-BE49-F238E27FC236}">
                <a16:creationId xmlns:a16="http://schemas.microsoft.com/office/drawing/2014/main" id="{723D65E8-28A4-4E23-B54D-3A2E143F8426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F2442A-FCEB-4D35-83AE-B97A5BE78A71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B02DA296-4BB9-DBDE-7FEE-451F77BC2F9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7343823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4" name="object 7">
            <a:extLst>
              <a:ext uri="{FF2B5EF4-FFF2-40B4-BE49-F238E27FC236}">
                <a16:creationId xmlns:a16="http://schemas.microsoft.com/office/drawing/2014/main" id="{CE1695CC-DE5D-4EA2-AF67-96A46F5FACDE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ED58A61-F955-DEF6-7FE6-6917586A0B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10722966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4" name="object 7">
            <a:extLst>
              <a:ext uri="{FF2B5EF4-FFF2-40B4-BE49-F238E27FC236}">
                <a16:creationId xmlns:a16="http://schemas.microsoft.com/office/drawing/2014/main" id="{CE1695CC-DE5D-4EA2-AF67-96A46F5FACDE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97246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0" name="object 7">
            <a:extLst>
              <a:ext uri="{FF2B5EF4-FFF2-40B4-BE49-F238E27FC236}">
                <a16:creationId xmlns:a16="http://schemas.microsoft.com/office/drawing/2014/main" id="{723D65E8-28A4-4E23-B54D-3A2E143F8426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F2442A-FCEB-4D35-83AE-B97A5BE78A71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90173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4" name="object 7">
            <a:extLst>
              <a:ext uri="{FF2B5EF4-FFF2-40B4-BE49-F238E27FC236}">
                <a16:creationId xmlns:a16="http://schemas.microsoft.com/office/drawing/2014/main" id="{CE1695CC-DE5D-4EA2-AF67-96A46F5FACDE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18581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0" name="object 7">
            <a:extLst>
              <a:ext uri="{FF2B5EF4-FFF2-40B4-BE49-F238E27FC236}">
                <a16:creationId xmlns:a16="http://schemas.microsoft.com/office/drawing/2014/main" id="{723D65E8-28A4-4E23-B54D-3A2E143F8426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F2442A-FCEB-4D35-83AE-B97A5BE78A71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209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4" name="object 7">
            <a:extLst>
              <a:ext uri="{FF2B5EF4-FFF2-40B4-BE49-F238E27FC236}">
                <a16:creationId xmlns:a16="http://schemas.microsoft.com/office/drawing/2014/main" id="{CE1695CC-DE5D-4EA2-AF67-96A46F5FACDE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4750BD5-DCA9-D136-DF29-3508498620C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32081113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0" name="object 7">
            <a:extLst>
              <a:ext uri="{FF2B5EF4-FFF2-40B4-BE49-F238E27FC236}">
                <a16:creationId xmlns:a16="http://schemas.microsoft.com/office/drawing/2014/main" id="{723D65E8-28A4-4E23-B54D-3A2E143F8426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F2442A-FCEB-4D35-83AE-B97A5BE78A71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9C8973B-C0AD-1264-E2AC-0C160F40C1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27937334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4" name="object 7">
            <a:extLst>
              <a:ext uri="{FF2B5EF4-FFF2-40B4-BE49-F238E27FC236}">
                <a16:creationId xmlns:a16="http://schemas.microsoft.com/office/drawing/2014/main" id="{CE1695CC-DE5D-4EA2-AF67-96A46F5FACDE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825EB13-2A46-3D3D-0770-ACE49C8D880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1522769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nowledge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>
            <a:extLst>
              <a:ext uri="{FF2B5EF4-FFF2-40B4-BE49-F238E27FC236}">
                <a16:creationId xmlns:a16="http://schemas.microsoft.com/office/drawing/2014/main" id="{7E3F075C-A2DF-4D43-ADC1-94881F209A5E}"/>
              </a:ext>
            </a:extLst>
          </p:cNvPr>
          <p:cNvSpPr/>
          <p:nvPr userDrawn="1"/>
        </p:nvSpPr>
        <p:spPr>
          <a:xfrm>
            <a:off x="149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BF0F9EE3-ED76-4500-BBD4-738F3F370654}"/>
              </a:ext>
            </a:extLst>
          </p:cNvPr>
          <p:cNvSpPr/>
          <p:nvPr userDrawn="1"/>
        </p:nvSpPr>
        <p:spPr>
          <a:xfrm>
            <a:off x="169117" y="186608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23" name="object 7">
            <a:extLst>
              <a:ext uri="{FF2B5EF4-FFF2-40B4-BE49-F238E27FC236}">
                <a16:creationId xmlns:a16="http://schemas.microsoft.com/office/drawing/2014/main" id="{9EB0EE15-B2F4-4B89-A6F9-230F15E44F5E}"/>
              </a:ext>
            </a:extLst>
          </p:cNvPr>
          <p:cNvSpPr/>
          <p:nvPr userDrawn="1"/>
        </p:nvSpPr>
        <p:spPr>
          <a:xfrm>
            <a:off x="168799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D4B90F4-211D-4823-A746-75AA388E0082}"/>
              </a:ext>
            </a:extLst>
          </p:cNvPr>
          <p:cNvSpPr txBox="1"/>
          <p:nvPr userDrawn="1"/>
        </p:nvSpPr>
        <p:spPr>
          <a:xfrm>
            <a:off x="502749" y="438145"/>
            <a:ext cx="8043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chemeClr val="accent4"/>
                </a:solidFill>
                <a:latin typeface="Bilo Bold" panose="020B0803040000020003" pitchFamily="34" charset="0"/>
              </a:rPr>
              <a:t>Knowledge Check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AED2C52-5578-4C32-8754-00778C09614C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>
            <a:extLst>
              <a:ext uri="{FF2B5EF4-FFF2-40B4-BE49-F238E27FC236}">
                <a16:creationId xmlns:a16="http://schemas.microsoft.com/office/drawing/2014/main" id="{DEB5561A-2E8F-45AD-B4B6-AAC5F9D62E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5" t="4282" r="-1205" b="20553"/>
          <a:stretch/>
        </p:blipFill>
        <p:spPr>
          <a:xfrm>
            <a:off x="6740718" y="878867"/>
            <a:ext cx="5130650" cy="5784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6140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4" name="object 7">
            <a:extLst>
              <a:ext uri="{FF2B5EF4-FFF2-40B4-BE49-F238E27FC236}">
                <a16:creationId xmlns:a16="http://schemas.microsoft.com/office/drawing/2014/main" id="{CE1695CC-DE5D-4EA2-AF67-96A46F5FACDE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12601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0" name="object 7">
            <a:extLst>
              <a:ext uri="{FF2B5EF4-FFF2-40B4-BE49-F238E27FC236}">
                <a16:creationId xmlns:a16="http://schemas.microsoft.com/office/drawing/2014/main" id="{723D65E8-28A4-4E23-B54D-3A2E143F8426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F2442A-FCEB-4D35-83AE-B97A5BE78A71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15109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4" name="object 7">
            <a:extLst>
              <a:ext uri="{FF2B5EF4-FFF2-40B4-BE49-F238E27FC236}">
                <a16:creationId xmlns:a16="http://schemas.microsoft.com/office/drawing/2014/main" id="{CE1695CC-DE5D-4EA2-AF67-96A46F5FACDE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2632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4066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butt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8689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9597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872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9B7C470-D594-44A2-93BB-04CAFEBCD5EC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06A57ED9-2982-4360-9CF1-068E11F11042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55" name="object 7">
            <a:extLst>
              <a:ext uri="{FF2B5EF4-FFF2-40B4-BE49-F238E27FC236}">
                <a16:creationId xmlns:a16="http://schemas.microsoft.com/office/drawing/2014/main" id="{08B6F671-7404-45CF-9B0B-BEAE70BB3AA5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40D1045-1F4B-4A4F-8F23-90B003E30555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E267D0B4-B463-3160-37D7-37FB26FD20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8130329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9B7C470-D594-44A2-93BB-04CAFEBCD5EC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06A57ED9-2982-4360-9CF1-068E11F11042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9A8288-30D2-02FB-811F-A1778AACEF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1890873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70AA690B-596A-424B-AC01-A9DFDDB9B740}"/>
              </a:ext>
            </a:extLst>
          </p:cNvPr>
          <p:cNvGrpSpPr/>
          <p:nvPr userDrawn="1"/>
        </p:nvGrpSpPr>
        <p:grpSpPr>
          <a:xfrm>
            <a:off x="-1" y="0"/>
            <a:ext cx="12191851" cy="6858000"/>
            <a:chOff x="-1" y="0"/>
            <a:chExt cx="12191851" cy="6858000"/>
          </a:xfrm>
        </p:grpSpPr>
        <p:sp>
          <p:nvSpPr>
            <p:cNvPr id="8" name="object 2">
              <a:extLst>
                <a:ext uri="{FF2B5EF4-FFF2-40B4-BE49-F238E27FC236}">
                  <a16:creationId xmlns:a16="http://schemas.microsoft.com/office/drawing/2014/main" id="{B06E508C-8E37-4C6A-B0B6-592F89FD3D62}"/>
                </a:ext>
              </a:extLst>
            </p:cNvPr>
            <p:cNvSpPr/>
            <p:nvPr/>
          </p:nvSpPr>
          <p:spPr>
            <a:xfrm>
              <a:off x="-1" y="0"/>
              <a:ext cx="12191851" cy="6858000"/>
            </a:xfrm>
            <a:custGeom>
              <a:avLst/>
              <a:gdLst/>
              <a:ahLst/>
              <a:cxnLst/>
              <a:rect l="l" t="t" r="r" b="b"/>
              <a:pathLst>
                <a:path w="11520170" h="6480175">
                  <a:moveTo>
                    <a:pt x="11520004" y="0"/>
                  </a:moveTo>
                  <a:lnTo>
                    <a:pt x="0" y="0"/>
                  </a:lnTo>
                  <a:lnTo>
                    <a:pt x="0" y="6479997"/>
                  </a:lnTo>
                  <a:lnTo>
                    <a:pt x="11520004" y="6479997"/>
                  </a:lnTo>
                  <a:lnTo>
                    <a:pt x="11520004" y="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3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lo"/>
                <a:ea typeface="+mn-ea"/>
                <a:cs typeface="+mn-cs"/>
              </a:endParaRPr>
            </a:p>
          </p:txBody>
        </p:sp>
        <p:sp>
          <p:nvSpPr>
            <p:cNvPr id="9" name="object 4">
              <a:extLst>
                <a:ext uri="{FF2B5EF4-FFF2-40B4-BE49-F238E27FC236}">
                  <a16:creationId xmlns:a16="http://schemas.microsoft.com/office/drawing/2014/main" id="{D814144D-539D-4B9E-AF8A-CB0C4334BBE9}"/>
                </a:ext>
              </a:extLst>
            </p:cNvPr>
            <p:cNvSpPr/>
            <p:nvPr/>
          </p:nvSpPr>
          <p:spPr>
            <a:xfrm>
              <a:off x="169112" y="186606"/>
              <a:ext cx="11810813" cy="6476962"/>
            </a:xfrm>
            <a:custGeom>
              <a:avLst/>
              <a:gdLst/>
              <a:ahLst/>
              <a:cxnLst/>
              <a:rect l="l" t="t" r="r" b="b"/>
              <a:pathLst>
                <a:path w="11160125" h="6120130">
                  <a:moveTo>
                    <a:pt x="11007598" y="0"/>
                  </a:moveTo>
                  <a:lnTo>
                    <a:pt x="152400" y="0"/>
                  </a:lnTo>
                  <a:lnTo>
                    <a:pt x="104231" y="7769"/>
                  </a:lnTo>
                  <a:lnTo>
                    <a:pt x="62396" y="29405"/>
                  </a:lnTo>
                  <a:lnTo>
                    <a:pt x="29405" y="62396"/>
                  </a:lnTo>
                  <a:lnTo>
                    <a:pt x="7769" y="104231"/>
                  </a:lnTo>
                  <a:lnTo>
                    <a:pt x="0" y="152400"/>
                  </a:lnTo>
                  <a:lnTo>
                    <a:pt x="0" y="5967603"/>
                  </a:lnTo>
                  <a:lnTo>
                    <a:pt x="7769" y="6015771"/>
                  </a:lnTo>
                  <a:lnTo>
                    <a:pt x="29405" y="6057606"/>
                  </a:lnTo>
                  <a:lnTo>
                    <a:pt x="62396" y="6090597"/>
                  </a:lnTo>
                  <a:lnTo>
                    <a:pt x="104231" y="6112233"/>
                  </a:lnTo>
                  <a:lnTo>
                    <a:pt x="152400" y="6120003"/>
                  </a:lnTo>
                  <a:lnTo>
                    <a:pt x="11007598" y="6120003"/>
                  </a:lnTo>
                  <a:lnTo>
                    <a:pt x="11055771" y="6112233"/>
                  </a:lnTo>
                  <a:lnTo>
                    <a:pt x="11097606" y="6090597"/>
                  </a:lnTo>
                  <a:lnTo>
                    <a:pt x="11130595" y="6057606"/>
                  </a:lnTo>
                  <a:lnTo>
                    <a:pt x="11152229" y="6015771"/>
                  </a:lnTo>
                  <a:lnTo>
                    <a:pt x="11159998" y="5967603"/>
                  </a:lnTo>
                  <a:lnTo>
                    <a:pt x="11159998" y="152400"/>
                  </a:lnTo>
                  <a:lnTo>
                    <a:pt x="11152229" y="104231"/>
                  </a:lnTo>
                  <a:lnTo>
                    <a:pt x="11130595" y="62396"/>
                  </a:lnTo>
                  <a:lnTo>
                    <a:pt x="11097606" y="29405"/>
                  </a:lnTo>
                  <a:lnTo>
                    <a:pt x="11055771" y="7769"/>
                  </a:lnTo>
                  <a:lnTo>
                    <a:pt x="110075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3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lo"/>
                <a:ea typeface="+mn-ea"/>
                <a:cs typeface="+mn-cs"/>
              </a:endParaRPr>
            </a:p>
          </p:txBody>
        </p:sp>
      </p:grpSp>
      <p:sp>
        <p:nvSpPr>
          <p:cNvPr id="5" name="Flowchart: Delay 4">
            <a:extLst>
              <a:ext uri="{FF2B5EF4-FFF2-40B4-BE49-F238E27FC236}">
                <a16:creationId xmlns:a16="http://schemas.microsoft.com/office/drawing/2014/main" id="{AC417689-45BE-4027-B96E-A498BA33C94B}"/>
              </a:ext>
            </a:extLst>
          </p:cNvPr>
          <p:cNvSpPr/>
          <p:nvPr userDrawn="1"/>
        </p:nvSpPr>
        <p:spPr>
          <a:xfrm>
            <a:off x="900108" y="0"/>
            <a:ext cx="5770567" cy="6858000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>
            <a:outerShdw blurRad="279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lo" panose="020B0503040000020003" pitchFamily="34" charset="0"/>
              <a:ea typeface="+mn-ea"/>
              <a:cs typeface="+mn-cs"/>
            </a:endParaRPr>
          </a:p>
        </p:txBody>
      </p:sp>
      <p:sp>
        <p:nvSpPr>
          <p:cNvPr id="6" name="Flowchart: Delay 5">
            <a:extLst>
              <a:ext uri="{FF2B5EF4-FFF2-40B4-BE49-F238E27FC236}">
                <a16:creationId xmlns:a16="http://schemas.microsoft.com/office/drawing/2014/main" id="{ABF3C012-B798-4C03-ADF0-3FCAA61862BA}"/>
              </a:ext>
            </a:extLst>
          </p:cNvPr>
          <p:cNvSpPr/>
          <p:nvPr userDrawn="1"/>
        </p:nvSpPr>
        <p:spPr>
          <a:xfrm>
            <a:off x="450055" y="0"/>
            <a:ext cx="5770567" cy="6858000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>
            <a:outerShdw blurRad="279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lo" panose="020B0503040000020003" pitchFamily="34" charset="0"/>
              <a:ea typeface="+mn-ea"/>
              <a:cs typeface="+mn-cs"/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9847DD7-E9C3-491F-A6FD-C1387BD0EE3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770568" cy="6858000"/>
          </a:xfrm>
          <a:custGeom>
            <a:avLst/>
            <a:gdLst>
              <a:gd name="connsiteX0" fmla="*/ 0 w 5770568"/>
              <a:gd name="connsiteY0" fmla="*/ 0 h 6858000"/>
              <a:gd name="connsiteX1" fmla="*/ 2885284 w 5770568"/>
              <a:gd name="connsiteY1" fmla="*/ 0 h 6858000"/>
              <a:gd name="connsiteX2" fmla="*/ 5770568 w 5770568"/>
              <a:gd name="connsiteY2" fmla="*/ 3429000 h 6858000"/>
              <a:gd name="connsiteX3" fmla="*/ 2885284 w 5770568"/>
              <a:gd name="connsiteY3" fmla="*/ 6858000 h 6858000"/>
              <a:gd name="connsiteX4" fmla="*/ 0 w 577056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70568" h="6858000">
                <a:moveTo>
                  <a:pt x="0" y="0"/>
                </a:moveTo>
                <a:lnTo>
                  <a:pt x="2885284" y="0"/>
                </a:lnTo>
                <a:cubicBezTo>
                  <a:pt x="4478782" y="0"/>
                  <a:pt x="5770568" y="1535216"/>
                  <a:pt x="5770568" y="3429000"/>
                </a:cubicBezTo>
                <a:cubicBezTo>
                  <a:pt x="5770568" y="5322784"/>
                  <a:pt x="4478782" y="6858000"/>
                  <a:pt x="2885284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1624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nowledge Check for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>
            <a:extLst>
              <a:ext uri="{FF2B5EF4-FFF2-40B4-BE49-F238E27FC236}">
                <a16:creationId xmlns:a16="http://schemas.microsoft.com/office/drawing/2014/main" id="{7E3F075C-A2DF-4D43-ADC1-94881F209A5E}"/>
              </a:ext>
            </a:extLst>
          </p:cNvPr>
          <p:cNvSpPr/>
          <p:nvPr userDrawn="1"/>
        </p:nvSpPr>
        <p:spPr>
          <a:xfrm>
            <a:off x="149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BF0F9EE3-ED76-4500-BBD4-738F3F370654}"/>
              </a:ext>
            </a:extLst>
          </p:cNvPr>
          <p:cNvSpPr/>
          <p:nvPr userDrawn="1"/>
        </p:nvSpPr>
        <p:spPr>
          <a:xfrm>
            <a:off x="169117" y="186608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23" name="object 7">
            <a:extLst>
              <a:ext uri="{FF2B5EF4-FFF2-40B4-BE49-F238E27FC236}">
                <a16:creationId xmlns:a16="http://schemas.microsoft.com/office/drawing/2014/main" id="{9EB0EE15-B2F4-4B89-A6F9-230F15E44F5E}"/>
              </a:ext>
            </a:extLst>
          </p:cNvPr>
          <p:cNvSpPr/>
          <p:nvPr userDrawn="1"/>
        </p:nvSpPr>
        <p:spPr>
          <a:xfrm>
            <a:off x="168799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D4B90F4-211D-4823-A746-75AA388E0082}"/>
              </a:ext>
            </a:extLst>
          </p:cNvPr>
          <p:cNvSpPr txBox="1"/>
          <p:nvPr userDrawn="1"/>
        </p:nvSpPr>
        <p:spPr>
          <a:xfrm>
            <a:off x="502749" y="438145"/>
            <a:ext cx="8043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457200" rtl="0" eaLnBrk="1" latinLnBrk="0" hangingPunct="1"/>
            <a:r>
              <a:rPr lang="en-US" sz="3200" b="1" kern="1200">
                <a:solidFill>
                  <a:schemeClr val="accent4"/>
                </a:solidFill>
                <a:latin typeface="Bilo Bold" panose="020B0803040000020003" pitchFamily="34" charset="0"/>
                <a:ea typeface="+mn-ea"/>
                <a:cs typeface="+mn-cs"/>
              </a:rPr>
              <a:t>Knowledge Check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AED2C52-5578-4C32-8754-00778C09614C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D004614F-CFFE-7943-0252-018DA0BA40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12998920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9B7C470-D594-44A2-93BB-04CAFEBCD5EC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06A57ED9-2982-4360-9CF1-068E11F11042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55" name="object 7">
            <a:extLst>
              <a:ext uri="{FF2B5EF4-FFF2-40B4-BE49-F238E27FC236}">
                <a16:creationId xmlns:a16="http://schemas.microsoft.com/office/drawing/2014/main" id="{08B6F671-7404-45CF-9B0B-BEAE70BB3AA5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40D1045-1F4B-4A4F-8F23-90B003E30555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76610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9B7C470-D594-44A2-93BB-04CAFEBCD5EC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06A57ED9-2982-4360-9CF1-068E11F11042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21990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erson sitting at a table with a computer&#10;&#10;Description automatically generated with medium confidence">
            <a:extLst>
              <a:ext uri="{FF2B5EF4-FFF2-40B4-BE49-F238E27FC236}">
                <a16:creationId xmlns:a16="http://schemas.microsoft.com/office/drawing/2014/main" id="{E3BBF897-2B80-4186-9A22-D536B3190D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44" r="13966"/>
          <a:stretch/>
        </p:blipFill>
        <p:spPr>
          <a:xfrm flipH="1">
            <a:off x="5780908" y="-11052"/>
            <a:ext cx="6411092" cy="6858000"/>
          </a:xfrm>
          <a:prstGeom prst="rect">
            <a:avLst/>
          </a:prstGeom>
        </p:spPr>
      </p:pic>
      <p:sp>
        <p:nvSpPr>
          <p:cNvPr id="2" name="Graphic 6">
            <a:extLst>
              <a:ext uri="{FF2B5EF4-FFF2-40B4-BE49-F238E27FC236}">
                <a16:creationId xmlns:a16="http://schemas.microsoft.com/office/drawing/2014/main" id="{52E9E426-972D-4616-99DD-A74D63D53843}"/>
              </a:ext>
            </a:extLst>
          </p:cNvPr>
          <p:cNvSpPr/>
          <p:nvPr/>
        </p:nvSpPr>
        <p:spPr>
          <a:xfrm>
            <a:off x="5460029" y="0"/>
            <a:ext cx="6728221" cy="6846948"/>
          </a:xfrm>
          <a:custGeom>
            <a:avLst/>
            <a:gdLst>
              <a:gd name="connsiteX0" fmla="*/ 0 w 6728221"/>
              <a:gd name="connsiteY0" fmla="*/ 0 h 6846948"/>
              <a:gd name="connsiteX1" fmla="*/ 1116150 w 6728221"/>
              <a:gd name="connsiteY1" fmla="*/ 3975795 h 6846948"/>
              <a:gd name="connsiteX2" fmla="*/ 0 w 6728221"/>
              <a:gd name="connsiteY2" fmla="*/ 6846948 h 6846948"/>
              <a:gd name="connsiteX3" fmla="*/ 6728222 w 6728221"/>
              <a:gd name="connsiteY3" fmla="*/ 6846948 h 6846948"/>
              <a:gd name="connsiteX4" fmla="*/ 6728222 w 6728221"/>
              <a:gd name="connsiteY4" fmla="*/ 0 h 6846948"/>
              <a:gd name="connsiteX5" fmla="*/ 0 w 6728221"/>
              <a:gd name="connsiteY5" fmla="*/ 0 h 684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28221" h="6846948">
                <a:moveTo>
                  <a:pt x="0" y="0"/>
                </a:moveTo>
                <a:cubicBezTo>
                  <a:pt x="407167" y="575144"/>
                  <a:pt x="1309768" y="2035826"/>
                  <a:pt x="1116150" y="3975795"/>
                </a:cubicBezTo>
                <a:cubicBezTo>
                  <a:pt x="985173" y="5299538"/>
                  <a:pt x="395778" y="6294628"/>
                  <a:pt x="0" y="6846948"/>
                </a:cubicBezTo>
                <a:lnTo>
                  <a:pt x="6728222" y="6846948"/>
                </a:lnTo>
                <a:lnTo>
                  <a:pt x="672822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2000"/>
            </a:schemeClr>
          </a:solidFill>
          <a:ln w="28455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Bilo" panose="020B0503040000020003" pitchFamily="34" charset="0"/>
            </a:endParaRPr>
          </a:p>
        </p:txBody>
      </p:sp>
      <p:sp>
        <p:nvSpPr>
          <p:cNvPr id="11" name="Graphic 313">
            <a:extLst>
              <a:ext uri="{FF2B5EF4-FFF2-40B4-BE49-F238E27FC236}">
                <a16:creationId xmlns:a16="http://schemas.microsoft.com/office/drawing/2014/main" id="{A7F3CCE2-0844-4CF2-8147-BCBBF8C84AF4}"/>
              </a:ext>
            </a:extLst>
          </p:cNvPr>
          <p:cNvSpPr/>
          <p:nvPr userDrawn="1"/>
        </p:nvSpPr>
        <p:spPr>
          <a:xfrm>
            <a:off x="0" y="0"/>
            <a:ext cx="6640942" cy="6846948"/>
          </a:xfrm>
          <a:custGeom>
            <a:avLst/>
            <a:gdLst>
              <a:gd name="connsiteX0" fmla="*/ 7672582 w 7672582"/>
              <a:gd name="connsiteY0" fmla="*/ 3440837 h 6881674"/>
              <a:gd name="connsiteX1" fmla="*/ 6746150 w 7672582"/>
              <a:gd name="connsiteY1" fmla="*/ 6881674 h 6881674"/>
              <a:gd name="connsiteX2" fmla="*/ 0 w 7672582"/>
              <a:gd name="connsiteY2" fmla="*/ 6881674 h 6881674"/>
              <a:gd name="connsiteX3" fmla="*/ 0 w 7672582"/>
              <a:gd name="connsiteY3" fmla="*/ 0 h 6881674"/>
              <a:gd name="connsiteX4" fmla="*/ 6743880 w 7672582"/>
              <a:gd name="connsiteY4" fmla="*/ 0 h 6881674"/>
              <a:gd name="connsiteX5" fmla="*/ 7670311 w 7672582"/>
              <a:gd name="connsiteY5" fmla="*/ 3440837 h 688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2582" h="6881674">
                <a:moveTo>
                  <a:pt x="7672582" y="3440837"/>
                </a:moveTo>
                <a:cubicBezTo>
                  <a:pt x="7672582" y="4787352"/>
                  <a:pt x="7318358" y="6005408"/>
                  <a:pt x="6746150" y="6881674"/>
                </a:cubicBezTo>
                <a:lnTo>
                  <a:pt x="0" y="6881674"/>
                </a:lnTo>
                <a:lnTo>
                  <a:pt x="0" y="0"/>
                </a:lnTo>
                <a:lnTo>
                  <a:pt x="6743880" y="0"/>
                </a:lnTo>
                <a:cubicBezTo>
                  <a:pt x="7316088" y="876267"/>
                  <a:pt x="7670311" y="2094323"/>
                  <a:pt x="7670311" y="3440837"/>
                </a:cubicBezTo>
                <a:close/>
              </a:path>
            </a:pathLst>
          </a:custGeom>
          <a:solidFill>
            <a:schemeClr val="bg1"/>
          </a:solidFill>
          <a:ln w="22691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Bilo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19335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203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nowledge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>
            <a:extLst>
              <a:ext uri="{FF2B5EF4-FFF2-40B4-BE49-F238E27FC236}">
                <a16:creationId xmlns:a16="http://schemas.microsoft.com/office/drawing/2014/main" id="{7E3F075C-A2DF-4D43-ADC1-94881F209A5E}"/>
              </a:ext>
            </a:extLst>
          </p:cNvPr>
          <p:cNvSpPr/>
          <p:nvPr userDrawn="1"/>
        </p:nvSpPr>
        <p:spPr>
          <a:xfrm>
            <a:off x="149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BF0F9EE3-ED76-4500-BBD4-738F3F370654}"/>
              </a:ext>
            </a:extLst>
          </p:cNvPr>
          <p:cNvSpPr/>
          <p:nvPr userDrawn="1"/>
        </p:nvSpPr>
        <p:spPr>
          <a:xfrm>
            <a:off x="169117" y="186608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23" name="object 7">
            <a:extLst>
              <a:ext uri="{FF2B5EF4-FFF2-40B4-BE49-F238E27FC236}">
                <a16:creationId xmlns:a16="http://schemas.microsoft.com/office/drawing/2014/main" id="{9EB0EE15-B2F4-4B89-A6F9-230F15E44F5E}"/>
              </a:ext>
            </a:extLst>
          </p:cNvPr>
          <p:cNvSpPr/>
          <p:nvPr userDrawn="1"/>
        </p:nvSpPr>
        <p:spPr>
          <a:xfrm>
            <a:off x="168799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D4B90F4-211D-4823-A746-75AA388E0082}"/>
              </a:ext>
            </a:extLst>
          </p:cNvPr>
          <p:cNvSpPr txBox="1"/>
          <p:nvPr userDrawn="1"/>
        </p:nvSpPr>
        <p:spPr>
          <a:xfrm>
            <a:off x="502749" y="438145"/>
            <a:ext cx="8043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chemeClr val="accent4"/>
                </a:solidFill>
                <a:latin typeface="Bilo Bold" panose="020B0803040000020003" pitchFamily="34" charset="0"/>
              </a:rPr>
              <a:t>Knowledge Check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AED2C52-5578-4C32-8754-00778C09614C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>
            <a:extLst>
              <a:ext uri="{FF2B5EF4-FFF2-40B4-BE49-F238E27FC236}">
                <a16:creationId xmlns:a16="http://schemas.microsoft.com/office/drawing/2014/main" id="{DEB5561A-2E8F-45AD-B4B6-AAC5F9D62E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5" t="4282" r="-1205" b="20553"/>
          <a:stretch/>
        </p:blipFill>
        <p:spPr>
          <a:xfrm>
            <a:off x="6740718" y="878867"/>
            <a:ext cx="5130650" cy="5784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2991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nowledge Check for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>
            <a:extLst>
              <a:ext uri="{FF2B5EF4-FFF2-40B4-BE49-F238E27FC236}">
                <a16:creationId xmlns:a16="http://schemas.microsoft.com/office/drawing/2014/main" id="{7E3F075C-A2DF-4D43-ADC1-94881F209A5E}"/>
              </a:ext>
            </a:extLst>
          </p:cNvPr>
          <p:cNvSpPr/>
          <p:nvPr userDrawn="1"/>
        </p:nvSpPr>
        <p:spPr>
          <a:xfrm>
            <a:off x="149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BF0F9EE3-ED76-4500-BBD4-738F3F370654}"/>
              </a:ext>
            </a:extLst>
          </p:cNvPr>
          <p:cNvSpPr/>
          <p:nvPr userDrawn="1"/>
        </p:nvSpPr>
        <p:spPr>
          <a:xfrm>
            <a:off x="169117" y="186608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23" name="object 7">
            <a:extLst>
              <a:ext uri="{FF2B5EF4-FFF2-40B4-BE49-F238E27FC236}">
                <a16:creationId xmlns:a16="http://schemas.microsoft.com/office/drawing/2014/main" id="{9EB0EE15-B2F4-4B89-A6F9-230F15E44F5E}"/>
              </a:ext>
            </a:extLst>
          </p:cNvPr>
          <p:cNvSpPr/>
          <p:nvPr userDrawn="1"/>
        </p:nvSpPr>
        <p:spPr>
          <a:xfrm>
            <a:off x="168799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D4B90F4-211D-4823-A746-75AA388E0082}"/>
              </a:ext>
            </a:extLst>
          </p:cNvPr>
          <p:cNvSpPr txBox="1"/>
          <p:nvPr userDrawn="1"/>
        </p:nvSpPr>
        <p:spPr>
          <a:xfrm>
            <a:off x="502749" y="438145"/>
            <a:ext cx="8043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457200" rtl="0" eaLnBrk="1" latinLnBrk="0" hangingPunct="1"/>
            <a:r>
              <a:rPr lang="en-US" sz="3200" b="1" kern="1200">
                <a:solidFill>
                  <a:schemeClr val="accent4"/>
                </a:solidFill>
                <a:latin typeface="Bilo Bold" panose="020B0803040000020003" pitchFamily="34" charset="0"/>
                <a:ea typeface="+mn-ea"/>
                <a:cs typeface="+mn-cs"/>
              </a:rPr>
              <a:t>Knowledge Check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AED2C52-5578-4C32-8754-00778C09614C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D004614F-CFFE-7943-0252-018DA0BA40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26769319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2325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3209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0" y="1681164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4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9986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348029-5D82-FB6E-64E0-DF69D0CB7737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486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nowledge Check for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>
            <a:extLst>
              <a:ext uri="{FF2B5EF4-FFF2-40B4-BE49-F238E27FC236}">
                <a16:creationId xmlns:a16="http://schemas.microsoft.com/office/drawing/2014/main" id="{7E3F075C-A2DF-4D43-ADC1-94881F209A5E}"/>
              </a:ext>
            </a:extLst>
          </p:cNvPr>
          <p:cNvSpPr/>
          <p:nvPr userDrawn="1"/>
        </p:nvSpPr>
        <p:spPr>
          <a:xfrm>
            <a:off x="149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BF0F9EE3-ED76-4500-BBD4-738F3F370654}"/>
              </a:ext>
            </a:extLst>
          </p:cNvPr>
          <p:cNvSpPr/>
          <p:nvPr userDrawn="1"/>
        </p:nvSpPr>
        <p:spPr>
          <a:xfrm>
            <a:off x="169117" y="186608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23" name="object 7">
            <a:extLst>
              <a:ext uri="{FF2B5EF4-FFF2-40B4-BE49-F238E27FC236}">
                <a16:creationId xmlns:a16="http://schemas.microsoft.com/office/drawing/2014/main" id="{9EB0EE15-B2F4-4B89-A6F9-230F15E44F5E}"/>
              </a:ext>
            </a:extLst>
          </p:cNvPr>
          <p:cNvSpPr/>
          <p:nvPr userDrawn="1"/>
        </p:nvSpPr>
        <p:spPr>
          <a:xfrm>
            <a:off x="168799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D4B90F4-211D-4823-A746-75AA388E0082}"/>
              </a:ext>
            </a:extLst>
          </p:cNvPr>
          <p:cNvSpPr txBox="1"/>
          <p:nvPr userDrawn="1"/>
        </p:nvSpPr>
        <p:spPr>
          <a:xfrm>
            <a:off x="502749" y="438145"/>
            <a:ext cx="80439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457200" rtl="0" eaLnBrk="1" latinLnBrk="0" hangingPunct="1"/>
            <a:r>
              <a:rPr lang="en-US" sz="3200" b="1" kern="1200">
                <a:solidFill>
                  <a:schemeClr val="accent4"/>
                </a:solidFill>
                <a:latin typeface="Bilo Bold" panose="020B0803040000020003" pitchFamily="34" charset="0"/>
                <a:ea typeface="+mn-ea"/>
                <a:cs typeface="+mn-cs"/>
              </a:rPr>
              <a:t>Knowledge Check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AED2C52-5578-4C32-8754-00778C09614C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13327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0" name="object 7">
            <a:extLst>
              <a:ext uri="{FF2B5EF4-FFF2-40B4-BE49-F238E27FC236}">
                <a16:creationId xmlns:a16="http://schemas.microsoft.com/office/drawing/2014/main" id="{723D65E8-28A4-4E23-B54D-3A2E143F8426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F2442A-FCEB-4D35-83AE-B97A5BE78A71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7941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4" name="object 7">
            <a:extLst>
              <a:ext uri="{FF2B5EF4-FFF2-40B4-BE49-F238E27FC236}">
                <a16:creationId xmlns:a16="http://schemas.microsoft.com/office/drawing/2014/main" id="{CE1695CC-DE5D-4EA2-AF67-96A46F5FACDE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30F8667-5C6C-B12D-73DB-1F1A7EBDAB53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06152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0" name="object 7">
            <a:extLst>
              <a:ext uri="{FF2B5EF4-FFF2-40B4-BE49-F238E27FC236}">
                <a16:creationId xmlns:a16="http://schemas.microsoft.com/office/drawing/2014/main" id="{723D65E8-28A4-4E23-B54D-3A2E143F8426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F2442A-FCEB-4D35-83AE-B97A5BE78A71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B02DA296-4BB9-DBDE-7FEE-451F77BC2F9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20095231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4" name="object 7">
            <a:extLst>
              <a:ext uri="{FF2B5EF4-FFF2-40B4-BE49-F238E27FC236}">
                <a16:creationId xmlns:a16="http://schemas.microsoft.com/office/drawing/2014/main" id="{CE1695CC-DE5D-4EA2-AF67-96A46F5FACDE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ED58A61-F955-DEF6-7FE6-6917586A0B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29735958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0" name="object 7">
            <a:extLst>
              <a:ext uri="{FF2B5EF4-FFF2-40B4-BE49-F238E27FC236}">
                <a16:creationId xmlns:a16="http://schemas.microsoft.com/office/drawing/2014/main" id="{723D65E8-28A4-4E23-B54D-3A2E143F8426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F2442A-FCEB-4D35-83AE-B97A5BE78A71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76569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4" name="object 7">
            <a:extLst>
              <a:ext uri="{FF2B5EF4-FFF2-40B4-BE49-F238E27FC236}">
                <a16:creationId xmlns:a16="http://schemas.microsoft.com/office/drawing/2014/main" id="{CE1695CC-DE5D-4EA2-AF67-96A46F5FACDE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4750BD5-DCA9-D136-DF29-3508498620C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368371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0" name="object 7">
            <a:extLst>
              <a:ext uri="{FF2B5EF4-FFF2-40B4-BE49-F238E27FC236}">
                <a16:creationId xmlns:a16="http://schemas.microsoft.com/office/drawing/2014/main" id="{723D65E8-28A4-4E23-B54D-3A2E143F8426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F2442A-FCEB-4D35-83AE-B97A5BE78A71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39C8973B-C0AD-1264-E2AC-0C160F40C1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27998264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4" name="object 7">
            <a:extLst>
              <a:ext uri="{FF2B5EF4-FFF2-40B4-BE49-F238E27FC236}">
                <a16:creationId xmlns:a16="http://schemas.microsoft.com/office/drawing/2014/main" id="{CE1695CC-DE5D-4EA2-AF67-96A46F5FACDE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825EB13-2A46-3D3D-0770-ACE49C8D880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20056666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3142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butt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112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52545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8915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9646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9B7C470-D594-44A2-93BB-04CAFEBCD5EC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06A57ED9-2982-4360-9CF1-068E11F11042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55" name="object 7">
            <a:extLst>
              <a:ext uri="{FF2B5EF4-FFF2-40B4-BE49-F238E27FC236}">
                <a16:creationId xmlns:a16="http://schemas.microsoft.com/office/drawing/2014/main" id="{08B6F671-7404-45CF-9B0B-BEAE70BB3AA5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40D1045-1F4B-4A4F-8F23-90B003E30555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E267D0B4-B463-3160-37D7-37FB26FD20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30897868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9B7C470-D594-44A2-93BB-04CAFEBCD5EC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06A57ED9-2982-4360-9CF1-068E11F11042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9A8288-30D2-02FB-811F-A1778AACEF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865197"/>
            <a:ext cx="12192000" cy="310896"/>
          </a:xfrm>
          <a:prstGeom prst="rect">
            <a:avLst/>
          </a:prstGeom>
          <a:ln>
            <a:solidFill>
              <a:schemeClr val="accent3"/>
            </a:solidFill>
          </a:ln>
        </p:spPr>
      </p:pic>
    </p:spTree>
    <p:extLst>
      <p:ext uri="{BB962C8B-B14F-4D97-AF65-F5344CB8AC3E}">
        <p14:creationId xmlns:p14="http://schemas.microsoft.com/office/powerpoint/2010/main" val="116725994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erson sitting at a table with a computer&#10;&#10;Description automatically generated with medium confidence">
            <a:extLst>
              <a:ext uri="{FF2B5EF4-FFF2-40B4-BE49-F238E27FC236}">
                <a16:creationId xmlns:a16="http://schemas.microsoft.com/office/drawing/2014/main" id="{E3BBF897-2B80-4186-9A22-D536B3190D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44" r="13966"/>
          <a:stretch/>
        </p:blipFill>
        <p:spPr>
          <a:xfrm flipH="1">
            <a:off x="5780908" y="-11052"/>
            <a:ext cx="6411092" cy="6858000"/>
          </a:xfrm>
          <a:prstGeom prst="rect">
            <a:avLst/>
          </a:prstGeom>
        </p:spPr>
      </p:pic>
      <p:sp>
        <p:nvSpPr>
          <p:cNvPr id="2" name="Graphic 6">
            <a:extLst>
              <a:ext uri="{FF2B5EF4-FFF2-40B4-BE49-F238E27FC236}">
                <a16:creationId xmlns:a16="http://schemas.microsoft.com/office/drawing/2014/main" id="{52E9E426-972D-4616-99DD-A74D63D53843}"/>
              </a:ext>
            </a:extLst>
          </p:cNvPr>
          <p:cNvSpPr/>
          <p:nvPr/>
        </p:nvSpPr>
        <p:spPr>
          <a:xfrm>
            <a:off x="5460029" y="0"/>
            <a:ext cx="6728221" cy="6846948"/>
          </a:xfrm>
          <a:custGeom>
            <a:avLst/>
            <a:gdLst>
              <a:gd name="connsiteX0" fmla="*/ 0 w 6728221"/>
              <a:gd name="connsiteY0" fmla="*/ 0 h 6846948"/>
              <a:gd name="connsiteX1" fmla="*/ 1116150 w 6728221"/>
              <a:gd name="connsiteY1" fmla="*/ 3975795 h 6846948"/>
              <a:gd name="connsiteX2" fmla="*/ 0 w 6728221"/>
              <a:gd name="connsiteY2" fmla="*/ 6846948 h 6846948"/>
              <a:gd name="connsiteX3" fmla="*/ 6728222 w 6728221"/>
              <a:gd name="connsiteY3" fmla="*/ 6846948 h 6846948"/>
              <a:gd name="connsiteX4" fmla="*/ 6728222 w 6728221"/>
              <a:gd name="connsiteY4" fmla="*/ 0 h 6846948"/>
              <a:gd name="connsiteX5" fmla="*/ 0 w 6728221"/>
              <a:gd name="connsiteY5" fmla="*/ 0 h 6846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28221" h="6846948">
                <a:moveTo>
                  <a:pt x="0" y="0"/>
                </a:moveTo>
                <a:cubicBezTo>
                  <a:pt x="407167" y="575144"/>
                  <a:pt x="1309768" y="2035826"/>
                  <a:pt x="1116150" y="3975795"/>
                </a:cubicBezTo>
                <a:cubicBezTo>
                  <a:pt x="985173" y="5299538"/>
                  <a:pt x="395778" y="6294628"/>
                  <a:pt x="0" y="6846948"/>
                </a:cubicBezTo>
                <a:lnTo>
                  <a:pt x="6728222" y="6846948"/>
                </a:lnTo>
                <a:lnTo>
                  <a:pt x="672822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52000"/>
            </a:schemeClr>
          </a:solidFill>
          <a:ln w="28455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Bilo" panose="020B0503040000020003" pitchFamily="34" charset="0"/>
            </a:endParaRPr>
          </a:p>
        </p:txBody>
      </p:sp>
      <p:sp>
        <p:nvSpPr>
          <p:cNvPr id="11" name="Graphic 313">
            <a:extLst>
              <a:ext uri="{FF2B5EF4-FFF2-40B4-BE49-F238E27FC236}">
                <a16:creationId xmlns:a16="http://schemas.microsoft.com/office/drawing/2014/main" id="{A7F3CCE2-0844-4CF2-8147-BCBBF8C84AF4}"/>
              </a:ext>
            </a:extLst>
          </p:cNvPr>
          <p:cNvSpPr/>
          <p:nvPr userDrawn="1"/>
        </p:nvSpPr>
        <p:spPr>
          <a:xfrm>
            <a:off x="0" y="0"/>
            <a:ext cx="6640942" cy="6846948"/>
          </a:xfrm>
          <a:custGeom>
            <a:avLst/>
            <a:gdLst>
              <a:gd name="connsiteX0" fmla="*/ 7672582 w 7672582"/>
              <a:gd name="connsiteY0" fmla="*/ 3440837 h 6881674"/>
              <a:gd name="connsiteX1" fmla="*/ 6746150 w 7672582"/>
              <a:gd name="connsiteY1" fmla="*/ 6881674 h 6881674"/>
              <a:gd name="connsiteX2" fmla="*/ 0 w 7672582"/>
              <a:gd name="connsiteY2" fmla="*/ 6881674 h 6881674"/>
              <a:gd name="connsiteX3" fmla="*/ 0 w 7672582"/>
              <a:gd name="connsiteY3" fmla="*/ 0 h 6881674"/>
              <a:gd name="connsiteX4" fmla="*/ 6743880 w 7672582"/>
              <a:gd name="connsiteY4" fmla="*/ 0 h 6881674"/>
              <a:gd name="connsiteX5" fmla="*/ 7670311 w 7672582"/>
              <a:gd name="connsiteY5" fmla="*/ 3440837 h 688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2582" h="6881674">
                <a:moveTo>
                  <a:pt x="7672582" y="3440837"/>
                </a:moveTo>
                <a:cubicBezTo>
                  <a:pt x="7672582" y="4787352"/>
                  <a:pt x="7318358" y="6005408"/>
                  <a:pt x="6746150" y="6881674"/>
                </a:cubicBezTo>
                <a:lnTo>
                  <a:pt x="0" y="6881674"/>
                </a:lnTo>
                <a:lnTo>
                  <a:pt x="0" y="0"/>
                </a:lnTo>
                <a:lnTo>
                  <a:pt x="6743880" y="0"/>
                </a:lnTo>
                <a:cubicBezTo>
                  <a:pt x="7316088" y="876267"/>
                  <a:pt x="7670311" y="2094323"/>
                  <a:pt x="7670311" y="3440837"/>
                </a:cubicBezTo>
                <a:close/>
              </a:path>
            </a:pathLst>
          </a:custGeom>
          <a:solidFill>
            <a:schemeClr val="bg1"/>
          </a:solidFill>
          <a:ln w="22691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Bilo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0140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29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11306175" cy="8876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099308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2181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0" y="1681164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4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6945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09BBC-EFAF-408E-A7BC-2E8A0945CCB5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07A709-6CC5-4973-9128-68148DE1A4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757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1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5974DA9-DBBB-4C62-992B-F5C959C50493}"/>
              </a:ext>
            </a:extLst>
          </p:cNvPr>
          <p:cNvSpPr/>
          <p:nvPr userDrawn="1"/>
        </p:nvSpPr>
        <p:spPr>
          <a:xfrm>
            <a:off x="-1" y="0"/>
            <a:ext cx="12191851" cy="6858000"/>
          </a:xfrm>
          <a:custGeom>
            <a:avLst/>
            <a:gdLst/>
            <a:ahLst/>
            <a:cxnLst/>
            <a:rect l="l" t="t" r="r" b="b"/>
            <a:pathLst>
              <a:path w="11520170" h="6480175">
                <a:moveTo>
                  <a:pt x="11520004" y="0"/>
                </a:moveTo>
                <a:lnTo>
                  <a:pt x="0" y="0"/>
                </a:lnTo>
                <a:lnTo>
                  <a:pt x="0" y="6479997"/>
                </a:lnTo>
                <a:lnTo>
                  <a:pt x="11520004" y="6479997"/>
                </a:lnTo>
                <a:lnTo>
                  <a:pt x="11520004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529CE95-85F1-4478-8C0F-8AD6789D6D09}"/>
              </a:ext>
            </a:extLst>
          </p:cNvPr>
          <p:cNvSpPr/>
          <p:nvPr userDrawn="1"/>
        </p:nvSpPr>
        <p:spPr>
          <a:xfrm>
            <a:off x="180007" y="179997"/>
            <a:ext cx="11810813" cy="6476962"/>
          </a:xfrm>
          <a:custGeom>
            <a:avLst/>
            <a:gdLst/>
            <a:ahLst/>
            <a:cxnLst/>
            <a:rect l="l" t="t" r="r" b="b"/>
            <a:pathLst>
              <a:path w="11160125" h="6120130">
                <a:moveTo>
                  <a:pt x="11007598" y="0"/>
                </a:moveTo>
                <a:lnTo>
                  <a:pt x="152400" y="0"/>
                </a:ln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5967603"/>
                </a:lnTo>
                <a:lnTo>
                  <a:pt x="7769" y="6015771"/>
                </a:lnTo>
                <a:lnTo>
                  <a:pt x="29405" y="6057606"/>
                </a:lnTo>
                <a:lnTo>
                  <a:pt x="62396" y="6090597"/>
                </a:lnTo>
                <a:lnTo>
                  <a:pt x="104231" y="6112233"/>
                </a:lnTo>
                <a:lnTo>
                  <a:pt x="152400" y="6120003"/>
                </a:lnTo>
                <a:lnTo>
                  <a:pt x="11007598" y="6120003"/>
                </a:lnTo>
                <a:lnTo>
                  <a:pt x="11055771" y="6112233"/>
                </a:lnTo>
                <a:lnTo>
                  <a:pt x="11097606" y="6090597"/>
                </a:lnTo>
                <a:lnTo>
                  <a:pt x="11130595" y="6057606"/>
                </a:lnTo>
                <a:lnTo>
                  <a:pt x="11152229" y="6015771"/>
                </a:lnTo>
                <a:lnTo>
                  <a:pt x="11159998" y="5967603"/>
                </a:lnTo>
                <a:lnTo>
                  <a:pt x="11159998" y="152400"/>
                </a:lnTo>
                <a:lnTo>
                  <a:pt x="11152229" y="104231"/>
                </a:lnTo>
                <a:lnTo>
                  <a:pt x="11130595" y="62396"/>
                </a:lnTo>
                <a:lnTo>
                  <a:pt x="11097606" y="29405"/>
                </a:lnTo>
                <a:lnTo>
                  <a:pt x="11055771" y="7769"/>
                </a:lnTo>
                <a:lnTo>
                  <a:pt x="110075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0EDEAFA-D97D-4B86-8CBA-0C9E2E8111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87260" y="6174807"/>
            <a:ext cx="451545" cy="45154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3438C5A-286D-44DA-82C1-5E8DCA3864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641699" y="6173659"/>
            <a:ext cx="451545" cy="451545"/>
          </a:xfrm>
          <a:prstGeom prst="rect">
            <a:avLst/>
          </a:prstGeom>
        </p:spPr>
      </p:pic>
      <p:sp>
        <p:nvSpPr>
          <p:cNvPr id="10" name="object 7">
            <a:extLst>
              <a:ext uri="{FF2B5EF4-FFF2-40B4-BE49-F238E27FC236}">
                <a16:creationId xmlns:a16="http://schemas.microsoft.com/office/drawing/2014/main" id="{723D65E8-28A4-4E23-B54D-3A2E143F8426}"/>
              </a:ext>
            </a:extLst>
          </p:cNvPr>
          <p:cNvSpPr/>
          <p:nvPr userDrawn="1"/>
        </p:nvSpPr>
        <p:spPr>
          <a:xfrm>
            <a:off x="178738" y="444021"/>
            <a:ext cx="284226" cy="568451"/>
          </a:xfrm>
          <a:custGeom>
            <a:avLst/>
            <a:gdLst/>
            <a:ahLst/>
            <a:cxnLst/>
            <a:rect l="l" t="t" r="r" b="b"/>
            <a:pathLst>
              <a:path w="360045" h="720089">
                <a:moveTo>
                  <a:pt x="0" y="0"/>
                </a:moveTo>
                <a:lnTo>
                  <a:pt x="0" y="720001"/>
                </a:lnTo>
                <a:lnTo>
                  <a:pt x="48848" y="716714"/>
                </a:lnTo>
                <a:lnTo>
                  <a:pt x="95700" y="707141"/>
                </a:lnTo>
                <a:lnTo>
                  <a:pt x="140125" y="691710"/>
                </a:lnTo>
                <a:lnTo>
                  <a:pt x="181695" y="670850"/>
                </a:lnTo>
                <a:lnTo>
                  <a:pt x="219981" y="644990"/>
                </a:lnTo>
                <a:lnTo>
                  <a:pt x="254554" y="614559"/>
                </a:lnTo>
                <a:lnTo>
                  <a:pt x="284984" y="579985"/>
                </a:lnTo>
                <a:lnTo>
                  <a:pt x="310844" y="541698"/>
                </a:lnTo>
                <a:lnTo>
                  <a:pt x="331703" y="500127"/>
                </a:lnTo>
                <a:lnTo>
                  <a:pt x="347134" y="455699"/>
                </a:lnTo>
                <a:lnTo>
                  <a:pt x="356707" y="408846"/>
                </a:lnTo>
                <a:lnTo>
                  <a:pt x="359994" y="359994"/>
                </a:lnTo>
                <a:lnTo>
                  <a:pt x="356707" y="311145"/>
                </a:lnTo>
                <a:lnTo>
                  <a:pt x="347134" y="264293"/>
                </a:lnTo>
                <a:lnTo>
                  <a:pt x="331703" y="219868"/>
                </a:lnTo>
                <a:lnTo>
                  <a:pt x="310844" y="178298"/>
                </a:lnTo>
                <a:lnTo>
                  <a:pt x="284984" y="140012"/>
                </a:lnTo>
                <a:lnTo>
                  <a:pt x="254554" y="105440"/>
                </a:lnTo>
                <a:lnTo>
                  <a:pt x="219981" y="75009"/>
                </a:lnTo>
                <a:lnTo>
                  <a:pt x="181695" y="49149"/>
                </a:lnTo>
                <a:lnTo>
                  <a:pt x="140125" y="28290"/>
                </a:lnTo>
                <a:lnTo>
                  <a:pt x="95700" y="12859"/>
                </a:lnTo>
                <a:lnTo>
                  <a:pt x="48848" y="32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sz="1800">
              <a:latin typeface="Bilo" panose="020B05030400000200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F2442A-FCEB-4D35-83AE-B97A5BE78A71}"/>
              </a:ext>
            </a:extLst>
          </p:cNvPr>
          <p:cNvCxnSpPr>
            <a:cxnSpLocks/>
          </p:cNvCxnSpPr>
          <p:nvPr userDrawn="1"/>
        </p:nvCxnSpPr>
        <p:spPr>
          <a:xfrm>
            <a:off x="625685" y="1022915"/>
            <a:ext cx="2194560" cy="0"/>
          </a:xfrm>
          <a:prstGeom prst="line">
            <a:avLst/>
          </a:prstGeom>
          <a:ln w="1778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3526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19CD08F-C53F-4366-B519-2447C4983D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141214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95" imgH="394" progId="TCLayout.ActiveDocument.1">
                  <p:embed/>
                </p:oleObj>
              </mc:Choice>
              <mc:Fallback>
                <p:oleObj name="think-cell Slide" r:id="rId3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19CD08F-C53F-4366-B519-2447C4983D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ilo" panose="020B0503040000020003" pitchFamily="34" charset="0"/>
              </a:defRPr>
            </a:lvl1pPr>
          </a:lstStyle>
          <a:p>
            <a:fld id="{28009BBC-EFAF-408E-A7BC-2E8A0945CCB5}" type="datetimeFigureOut">
              <a:rPr lang="en-US" smtClean="0"/>
              <a:pPr/>
              <a:t>11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ilo" panose="020B05030400000200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ilo" panose="020B0503040000020003" pitchFamily="34" charset="0"/>
              </a:defRPr>
            </a:lvl1pPr>
          </a:lstStyle>
          <a:p>
            <a:fld id="{E507A709-6CC5-4973-9128-68148DE1A4C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158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4"/>
          </a:solidFill>
          <a:latin typeface="Bilo Bold" panose="020B08030400000200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Bilo Light" panose="020B03030400000200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ilo Light" panose="020B03030400000200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ilo Light" panose="020B03030400000200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ilo Light" panose="020B03030400000200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ilo Light" panose="020B03030400000200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2C1F03-FDC3-4E63-A865-7B7EA35CDF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17740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95" imgH="394" progId="TCLayout.ActiveDocument.1">
                  <p:embed/>
                </p:oleObj>
              </mc:Choice>
              <mc:Fallback>
                <p:oleObj name="think-cell Slide" r:id="rId26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2C1F03-FDC3-4E63-A865-7B7EA35CDF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ilo" panose="020B0503040000020003" pitchFamily="34" charset="0"/>
              </a:defRPr>
            </a:lvl1pPr>
          </a:lstStyle>
          <a:p>
            <a:fld id="{28009BBC-EFAF-408E-A7BC-2E8A0945CCB5}" type="datetimeFigureOut">
              <a:rPr lang="en-US" smtClean="0"/>
              <a:pPr/>
              <a:t>11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ilo" panose="020B05030400000200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ilo" panose="020B0503040000020003" pitchFamily="34" charset="0"/>
              </a:defRPr>
            </a:lvl1pPr>
          </a:lstStyle>
          <a:p>
            <a:fld id="{E507A709-6CC5-4973-9128-68148DE1A4C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366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4"/>
          </a:solidFill>
          <a:latin typeface="Bilo Bold" panose="020B08030400000200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Bilo Light" panose="020B03030400000200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ilo Light" panose="020B03030400000200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ilo Light" panose="020B03030400000200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ilo Light" panose="020B03030400000200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ilo Light" panose="020B03030400000200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mailto:SRM@lipton.com" TargetMode="External"/><Relationship Id="rId3" Type="http://schemas.openxmlformats.org/officeDocument/2006/relationships/hyperlink" Target="https://www.ibancalculator.com/" TargetMode="External"/><Relationship Id="rId7" Type="http://schemas.openxmlformats.org/officeDocument/2006/relationships/image" Target="../media/image27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26.png"/><Relationship Id="rId5" Type="http://schemas.openxmlformats.org/officeDocument/2006/relationships/hyperlink" Target="https://www.usbanklocations.com/" TargetMode="External"/><Relationship Id="rId4" Type="http://schemas.openxmlformats.org/officeDocument/2006/relationships/hyperlink" Target="https://bank.codes/swift-code-checker/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ptonteas.com/suppliers/" TargetMode="External"/><Relationship Id="rId3" Type="http://schemas.openxmlformats.org/officeDocument/2006/relationships/image" Target="../media/image28.png"/><Relationship Id="rId7" Type="http://schemas.openxmlformats.org/officeDocument/2006/relationships/hyperlink" Target="https://support.ariba.com/Item/view/183459_en?min=0&amp;toolbars=1&amp;gutter=1&amp;popwin=0&amp;footer=1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tmp"/><Relationship Id="rId9" Type="http://schemas.openxmlformats.org/officeDocument/2006/relationships/hyperlink" Target="mailto:SRM@lipton.com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mailto:xxx@eusmtp.ariba.com" TargetMode="External"/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1.xml"/><Relationship Id="rId4" Type="http://schemas.openxmlformats.org/officeDocument/2006/relationships/hyperlink" Target="mailto:SRM@lipton.com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8.tm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tmp"/><Relationship Id="rId2" Type="http://schemas.openxmlformats.org/officeDocument/2006/relationships/image" Target="../media/image19.tmp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Delay 3">
            <a:extLst>
              <a:ext uri="{FF2B5EF4-FFF2-40B4-BE49-F238E27FC236}">
                <a16:creationId xmlns:a16="http://schemas.microsoft.com/office/drawing/2014/main" id="{6472B3C9-9745-4BBC-B603-BD59C044DEBB}"/>
              </a:ext>
            </a:extLst>
          </p:cNvPr>
          <p:cNvSpPr/>
          <p:nvPr/>
        </p:nvSpPr>
        <p:spPr>
          <a:xfrm>
            <a:off x="5" y="0"/>
            <a:ext cx="5770567" cy="6858000"/>
          </a:xfrm>
          <a:prstGeom prst="flowChartDelay">
            <a:avLst/>
          </a:prstGeom>
          <a:solidFill>
            <a:schemeClr val="bg1"/>
          </a:solidFill>
          <a:ln>
            <a:noFill/>
          </a:ln>
          <a:effectLst>
            <a:outerShdw blurRad="279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lo" panose="020B0503040000020003" pitchFamily="34" charset="0"/>
              <a:ea typeface="+mn-ea"/>
              <a:cs typeface="+mn-cs"/>
            </a:endParaRPr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E359EABF-B2E4-4B30-A7B0-040F566E35F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0" r="21930"/>
          <a:stretch/>
        </p:blipFill>
        <p:spPr>
          <a:xfrm>
            <a:off x="0" y="0"/>
            <a:ext cx="5770568" cy="6858000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2FBC74D-BBCC-56F7-F764-1B1B87CF7879}"/>
              </a:ext>
            </a:extLst>
          </p:cNvPr>
          <p:cNvSpPr txBox="1"/>
          <p:nvPr/>
        </p:nvSpPr>
        <p:spPr>
          <a:xfrm>
            <a:off x="6806453" y="1231969"/>
            <a:ext cx="33009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Bilo Light" panose="020B0303040000020003" pitchFamily="34" charset="0"/>
                <a:ea typeface="+mn-ea"/>
                <a:cs typeface="Arial" panose="020B0604020202020204" pitchFamily="34" charset="0"/>
              </a:rPr>
              <a:t>Welcome to the guide on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19A66B-4CB5-36D6-CBA7-01540712D0B5}"/>
              </a:ext>
            </a:extLst>
          </p:cNvPr>
          <p:cNvSpPr txBox="1"/>
          <p:nvPr/>
        </p:nvSpPr>
        <p:spPr>
          <a:xfrm>
            <a:off x="6806453" y="2512866"/>
            <a:ext cx="4813782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dirty="0">
                <a:solidFill>
                  <a:srgbClr val="22B0AE"/>
                </a:solidFill>
                <a:latin typeface="Bilo Bold" panose="020B0803040000020003" pitchFamily="34" charset="0"/>
              </a:rPr>
              <a:t>Registering as a new vendor on Lipton’s SAP Business Network</a:t>
            </a:r>
            <a:endParaRPr kumimoji="0" lang="id-ID" sz="36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Bilo Light" panose="020B0303040000020003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88760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49181471-0037-2FF2-2C32-80A582F7190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0375"/>
          <a:stretch/>
        </p:blipFill>
        <p:spPr>
          <a:xfrm>
            <a:off x="597128" y="1979090"/>
            <a:ext cx="7555489" cy="92333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5C1F183-14E6-7C4B-DD2A-2765290EC465}"/>
              </a:ext>
            </a:extLst>
          </p:cNvPr>
          <p:cNvSpPr txBox="1"/>
          <p:nvPr/>
        </p:nvSpPr>
        <p:spPr>
          <a:xfrm>
            <a:off x="8128175" y="2268481"/>
            <a:ext cx="39008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200" dirty="0">
                <a:latin typeface="Bilo Light" panose="020B0303040000020003"/>
              </a:rPr>
              <a:t>Ensure this the email address where orders will be sent t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FF5B601-35F1-F76F-BAEE-47D9B7554E7C}"/>
              </a:ext>
            </a:extLst>
          </p:cNvPr>
          <p:cNvSpPr txBox="1"/>
          <p:nvPr/>
        </p:nvSpPr>
        <p:spPr>
          <a:xfrm>
            <a:off x="3903823" y="3048942"/>
            <a:ext cx="390086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dirty="0">
                <a:effectLst/>
                <a:latin typeface="Bilo Light" panose="020B0303040000020003"/>
                <a:ea typeface="Times New Roman" panose="02020603050405020304" pitchFamily="18" charset="0"/>
              </a:rPr>
              <a:t>Bank details all fields are mandatory (except for Region, Postal codes.  IBAN, Swift, Bank Control Key are mandatory for only some countries)</a:t>
            </a:r>
          </a:p>
          <a:p>
            <a:pPr>
              <a:defRPr/>
            </a:pPr>
            <a:endParaRPr lang="en-US" sz="1200" dirty="0">
              <a:latin typeface="Bilo Light" panose="020B0303040000020003"/>
              <a:ea typeface="Times New Roman" panose="02020603050405020304" pitchFamily="18" charset="0"/>
            </a:endParaRPr>
          </a:p>
          <a:p>
            <a:pPr>
              <a:defRPr/>
            </a:pPr>
            <a:r>
              <a:rPr lang="en-US" sz="1200" b="1" dirty="0">
                <a:effectLst/>
                <a:latin typeface="Bilo Light" panose="020B0303040000020003"/>
                <a:ea typeface="Times New Roman" panose="02020603050405020304" pitchFamily="18" charset="0"/>
              </a:rPr>
              <a:t>Bank Type</a:t>
            </a:r>
            <a:r>
              <a:rPr lang="en-US" sz="1200" dirty="0">
                <a:effectLst/>
                <a:latin typeface="Bilo Light" panose="020B0303040000020003"/>
                <a:ea typeface="Times New Roman" panose="02020603050405020304" pitchFamily="18" charset="0"/>
              </a:rPr>
              <a:t>:  If your business legal entity is in the same country as the Lipton entity you are supplying, select “Domestic”, if not please select “Foreign”</a:t>
            </a:r>
          </a:p>
          <a:p>
            <a:pPr>
              <a:defRPr/>
            </a:pPr>
            <a:endParaRPr lang="en-US" sz="1200" dirty="0">
              <a:latin typeface="Bilo Light" panose="020B0303040000020003"/>
              <a:ea typeface="Times New Roman" panose="02020603050405020304" pitchFamily="18" charset="0"/>
            </a:endParaRPr>
          </a:p>
          <a:p>
            <a:pPr>
              <a:defRPr/>
            </a:pPr>
            <a:r>
              <a:rPr lang="en-US" sz="1200" dirty="0">
                <a:latin typeface="Bilo Light" panose="020B0303040000020003"/>
                <a:ea typeface="Times New Roman" panose="02020603050405020304" pitchFamily="18" charset="0"/>
              </a:rPr>
              <a:t>After completing the bank details, please click on “save” button.</a:t>
            </a:r>
          </a:p>
          <a:p>
            <a:pPr>
              <a:defRPr/>
            </a:pPr>
            <a:endParaRPr lang="en-US" sz="1200" dirty="0">
              <a:latin typeface="Bilo Light" panose="020B0303040000020003"/>
              <a:ea typeface="Times New Roman" panose="02020603050405020304" pitchFamily="18" charset="0"/>
            </a:endParaRPr>
          </a:p>
          <a:p>
            <a:pPr>
              <a:defRPr/>
            </a:pPr>
            <a:r>
              <a:rPr lang="en-US" sz="1200" dirty="0">
                <a:latin typeface="Bilo Light" panose="020B0303040000020003"/>
                <a:ea typeface="Times New Roman" panose="02020603050405020304" pitchFamily="18" charset="0"/>
              </a:rPr>
              <a:t>To assist you with finding out these details, you can use the following links</a:t>
            </a:r>
          </a:p>
          <a:p>
            <a:pPr>
              <a:defRPr/>
            </a:pPr>
            <a:endParaRPr lang="en-US" sz="1200" dirty="0">
              <a:latin typeface="Bilo Light" panose="020B0303040000020003"/>
              <a:ea typeface="Times New Roman" panose="02020603050405020304" pitchFamily="18" charset="0"/>
            </a:endParaRPr>
          </a:p>
          <a:p>
            <a:pPr>
              <a:defRPr/>
            </a:pPr>
            <a:r>
              <a:rPr lang="en-US" sz="1000" dirty="0">
                <a:effectLst/>
                <a:latin typeface="Bilo Light" panose="020B0303040000020003"/>
                <a:ea typeface="Times New Roman" panose="02020603050405020304" pitchFamily="18" charset="0"/>
              </a:rPr>
              <a:t>To validate the IBAN: </a:t>
            </a:r>
            <a:r>
              <a:rPr lang="en-US" sz="1000" u="sng" dirty="0">
                <a:solidFill>
                  <a:srgbClr val="0563C1"/>
                </a:solidFill>
                <a:effectLst/>
                <a:latin typeface="Bilo Light" panose="020B0303040000020003"/>
                <a:ea typeface="Times New Roman" panose="02020603050405020304" pitchFamily="18" charset="0"/>
                <a:hlinkClick r:id="rId3"/>
              </a:rPr>
              <a:t>https://www.ibancalculator.com/</a:t>
            </a:r>
            <a:endParaRPr lang="en-GB" sz="1000" u="sng" dirty="0">
              <a:solidFill>
                <a:srgbClr val="0563C1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defRPr/>
            </a:pPr>
            <a:r>
              <a:rPr lang="en-US" sz="1000" dirty="0">
                <a:effectLst/>
                <a:latin typeface="Bilo Light" panose="020B0303040000020003"/>
                <a:ea typeface="Times New Roman" panose="02020603050405020304" pitchFamily="18" charset="0"/>
              </a:rPr>
              <a:t>To validate the BIC/SWIF code: </a:t>
            </a:r>
            <a:r>
              <a:rPr lang="en-US" sz="1000" u="sng" dirty="0">
                <a:solidFill>
                  <a:srgbClr val="0563C1"/>
                </a:solidFill>
                <a:effectLst/>
                <a:latin typeface="Bilo Light" panose="020B0303040000020003"/>
                <a:ea typeface="Times New Roman" panose="02020603050405020304" pitchFamily="18" charset="0"/>
                <a:hlinkClick r:id="rId4"/>
              </a:rPr>
              <a:t>https://bank.codes/swift-code-checker/</a:t>
            </a:r>
            <a:endParaRPr lang="en-GB" sz="1000" u="sng" dirty="0">
              <a:solidFill>
                <a:srgbClr val="0563C1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defRPr/>
            </a:pPr>
            <a:r>
              <a:rPr lang="en-US" sz="1000" dirty="0">
                <a:effectLst/>
                <a:latin typeface="Bilo Light" panose="020B0303040000020003"/>
                <a:ea typeface="Times New Roman" panose="02020603050405020304" pitchFamily="18" charset="0"/>
              </a:rPr>
              <a:t>To Validate ABA/ACH code: </a:t>
            </a:r>
            <a:r>
              <a:rPr lang="en-US" sz="1000" u="sng" dirty="0">
                <a:solidFill>
                  <a:srgbClr val="0563C1"/>
                </a:solidFill>
                <a:effectLst/>
                <a:latin typeface="Bilo Light" panose="020B0303040000020003"/>
                <a:ea typeface="Times New Roman" panose="02020603050405020304" pitchFamily="18" charset="0"/>
                <a:hlinkClick r:id="rId5"/>
              </a:rPr>
              <a:t>https://www.usbanklocations.com</a:t>
            </a:r>
            <a:r>
              <a:rPr lang="en-US" sz="1000" dirty="0">
                <a:effectLst/>
                <a:latin typeface="Bilo Light" panose="020B0303040000020003"/>
                <a:ea typeface="Times New Roman" panose="02020603050405020304" pitchFamily="18" charset="0"/>
              </a:rPr>
              <a:t>.</a:t>
            </a:r>
            <a:endParaRPr lang="en-GB" sz="1200" dirty="0">
              <a:latin typeface="Bilo Light" panose="020B0303040000020003"/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BCD0A286-13D0-9902-8224-B6D74F9A478E}"/>
              </a:ext>
            </a:extLst>
          </p:cNvPr>
          <p:cNvSpPr/>
          <p:nvPr/>
        </p:nvSpPr>
        <p:spPr>
          <a:xfrm>
            <a:off x="7463940" y="2315797"/>
            <a:ext cx="681487" cy="229683"/>
          </a:xfrm>
          <a:prstGeom prst="right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" name="Picture 18" descr="A screenshot of a computer&#10;&#10;Description automatically generated">
            <a:extLst>
              <a:ext uri="{FF2B5EF4-FFF2-40B4-BE49-F238E27FC236}">
                <a16:creationId xmlns:a16="http://schemas.microsoft.com/office/drawing/2014/main" id="{8FE86BF0-BDCB-113B-2555-B8E1D4FF6ED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70442"/>
          <a:stretch/>
        </p:blipFill>
        <p:spPr>
          <a:xfrm>
            <a:off x="597128" y="3020183"/>
            <a:ext cx="2861690" cy="264284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1" name="Picture 20" descr="A white rectangular object with blue text&#10;&#10;Description automatically generated">
            <a:extLst>
              <a:ext uri="{FF2B5EF4-FFF2-40B4-BE49-F238E27FC236}">
                <a16:creationId xmlns:a16="http://schemas.microsoft.com/office/drawing/2014/main" id="{5B381201-8973-1852-EA27-7A1C27F3A8B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3772"/>
          <a:stretch/>
        </p:blipFill>
        <p:spPr>
          <a:xfrm>
            <a:off x="8128175" y="3015240"/>
            <a:ext cx="2919383" cy="251680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61220A6-2842-7AE2-A0A5-DA91106F7678}"/>
              </a:ext>
            </a:extLst>
          </p:cNvPr>
          <p:cNvSpPr txBox="1"/>
          <p:nvPr/>
        </p:nvSpPr>
        <p:spPr>
          <a:xfrm>
            <a:off x="2924107" y="6217086"/>
            <a:ext cx="66637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800" dirty="0">
                <a:effectLst/>
                <a:latin typeface="Bilo Light" panose="020B0303040000020003"/>
                <a:ea typeface="Times New Roman" panose="02020603050405020304" pitchFamily="18" charset="0"/>
              </a:rPr>
              <a:t>If you have any issues please contact </a:t>
            </a:r>
            <a:r>
              <a:rPr lang="en-US" sz="1800" u="sng" dirty="0">
                <a:solidFill>
                  <a:srgbClr val="0563C1"/>
                </a:solidFill>
                <a:effectLst/>
                <a:latin typeface="Bilo Light" panose="020B0303040000020003"/>
                <a:ea typeface="Times New Roman" panose="02020603050405020304" pitchFamily="18" charset="0"/>
                <a:hlinkClick r:id="rId8"/>
              </a:rPr>
              <a:t>SRM@lipton.com</a:t>
            </a:r>
            <a:r>
              <a:rPr lang="en-US" sz="1800" dirty="0">
                <a:effectLst/>
                <a:latin typeface="Bilo Light" panose="020B0303040000020003"/>
                <a:ea typeface="Times New Roman" panose="02020603050405020304" pitchFamily="18" charset="0"/>
              </a:rPr>
              <a:t> for help</a:t>
            </a:r>
            <a:endParaRPr lang="en-GB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7B36078E-6B58-4272-CED3-7CB1FCB3E049}"/>
              </a:ext>
            </a:extLst>
          </p:cNvPr>
          <p:cNvSpPr/>
          <p:nvPr/>
        </p:nvSpPr>
        <p:spPr>
          <a:xfrm rot="16200000">
            <a:off x="8705669" y="5207441"/>
            <a:ext cx="681487" cy="229683"/>
          </a:xfrm>
          <a:prstGeom prst="right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329E440-3363-4946-6A08-3AE4B71DE5DB}"/>
              </a:ext>
            </a:extLst>
          </p:cNvPr>
          <p:cNvSpPr txBox="1"/>
          <p:nvPr/>
        </p:nvSpPr>
        <p:spPr>
          <a:xfrm>
            <a:off x="8036383" y="5616891"/>
            <a:ext cx="34121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200" b="1" dirty="0">
                <a:solidFill>
                  <a:srgbClr val="FF0000"/>
                </a:solidFill>
                <a:latin typeface="Bilo Light" panose="020B0303040000020003"/>
              </a:rPr>
              <a:t>Attach supporting documentation as requested (non editable format </a:t>
            </a:r>
            <a:r>
              <a:rPr lang="en-GB" sz="1200" b="1" dirty="0" err="1">
                <a:solidFill>
                  <a:srgbClr val="FF0000"/>
                </a:solidFill>
                <a:latin typeface="Bilo Light" panose="020B0303040000020003"/>
              </a:rPr>
              <a:t>e.g</a:t>
            </a:r>
            <a:r>
              <a:rPr lang="en-GB" sz="1200" b="1" dirty="0">
                <a:solidFill>
                  <a:srgbClr val="FF0000"/>
                </a:solidFill>
                <a:latin typeface="Bilo Light" panose="020B0303040000020003"/>
              </a:rPr>
              <a:t> PDF) Business letterhead or bank letter are acceptab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BFA11F-F634-3FAA-AB82-DA573BC7B8FD}"/>
              </a:ext>
            </a:extLst>
          </p:cNvPr>
          <p:cNvSpPr txBox="1"/>
          <p:nvPr/>
        </p:nvSpPr>
        <p:spPr>
          <a:xfrm>
            <a:off x="508488" y="456248"/>
            <a:ext cx="111750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A4054"/>
                </a:solidFill>
                <a:effectLst/>
                <a:uLnTx/>
                <a:uFillTx/>
                <a:latin typeface="Bilo Bold" panose="020B0803040000020003" pitchFamily="34" charset="0"/>
                <a:ea typeface="+mn-ea"/>
                <a:cs typeface="+mn-cs"/>
              </a:rPr>
              <a:t>Supplier Registration with Lipton via </a:t>
            </a:r>
            <a:r>
              <a:rPr lang="en-US" sz="3200" b="1" dirty="0">
                <a:solidFill>
                  <a:srgbClr val="0A4054"/>
                </a:solidFill>
                <a:latin typeface="Bilo Bold" panose="020B0803040000020003" pitchFamily="34" charset="0"/>
              </a:rPr>
              <a:t>SAP Business Network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A4054"/>
              </a:solidFill>
              <a:effectLst/>
              <a:uLnTx/>
              <a:uFillTx/>
              <a:latin typeface="Bilo Bold" panose="020B080304000002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35995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F85F59C-A2EC-295D-B2D3-2401254C9B72}"/>
              </a:ext>
            </a:extLst>
          </p:cNvPr>
          <p:cNvSpPr txBox="1"/>
          <p:nvPr/>
        </p:nvSpPr>
        <p:spPr>
          <a:xfrm>
            <a:off x="508488" y="456248"/>
            <a:ext cx="111750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A4054"/>
                </a:solidFill>
                <a:effectLst/>
                <a:uLnTx/>
                <a:uFillTx/>
                <a:latin typeface="Bilo Bold" panose="020B0803040000020003" pitchFamily="34" charset="0"/>
                <a:ea typeface="+mn-ea"/>
                <a:cs typeface="+mn-cs"/>
              </a:rPr>
              <a:t>Supplier Registration with Lipton via </a:t>
            </a:r>
            <a:r>
              <a:rPr lang="en-US" sz="3200" b="1" dirty="0">
                <a:solidFill>
                  <a:srgbClr val="0A4054"/>
                </a:solidFill>
                <a:latin typeface="Bilo Bold" panose="020B0803040000020003" pitchFamily="34" charset="0"/>
              </a:rPr>
              <a:t>SAP Business Network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A4054"/>
              </a:solidFill>
              <a:effectLst/>
              <a:uLnTx/>
              <a:uFillTx/>
              <a:latin typeface="Bilo Bold" panose="020B0803040000020003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D27386-B48F-BA51-8EE3-63D26F649855}"/>
              </a:ext>
            </a:extLst>
          </p:cNvPr>
          <p:cNvSpPr txBox="1"/>
          <p:nvPr/>
        </p:nvSpPr>
        <p:spPr>
          <a:xfrm>
            <a:off x="508488" y="1417985"/>
            <a:ext cx="10674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dirty="0">
                <a:latin typeface="Bilo Light" panose="020B0303040000020003"/>
              </a:rPr>
              <a:t>Important notes on the fields you will complete </a:t>
            </a:r>
            <a:endParaRPr lang="en-GB" dirty="0">
              <a:latin typeface="Bilo Light" panose="020B0303040000020003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55A9EF9-6263-7ADF-C844-212FFD79352A}"/>
              </a:ext>
            </a:extLst>
          </p:cNvPr>
          <p:cNvSpPr txBox="1"/>
          <p:nvPr/>
        </p:nvSpPr>
        <p:spPr>
          <a:xfrm>
            <a:off x="8063977" y="2183924"/>
            <a:ext cx="39008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200" dirty="0">
                <a:latin typeface="Bilo Light" panose="020B0303040000020003"/>
              </a:rPr>
              <a:t>Please select your country/region and the relevant fields for your country are displayed please complete.</a:t>
            </a:r>
          </a:p>
          <a:p>
            <a:pPr>
              <a:defRPr/>
            </a:pPr>
            <a:r>
              <a:rPr lang="en-GB" sz="1200" b="1" dirty="0">
                <a:solidFill>
                  <a:srgbClr val="FF0000"/>
                </a:solidFill>
                <a:latin typeface="Bilo Light" panose="020B0303040000020003"/>
              </a:rPr>
              <a:t>Attach supporting documentation as requested (</a:t>
            </a:r>
            <a:r>
              <a:rPr lang="en-GB" sz="1200" b="1" dirty="0" err="1">
                <a:solidFill>
                  <a:srgbClr val="FF0000"/>
                </a:solidFill>
                <a:latin typeface="Bilo Light" panose="020B0303040000020003"/>
              </a:rPr>
              <a:t>e.g</a:t>
            </a:r>
            <a:r>
              <a:rPr lang="en-GB" sz="1200" b="1" dirty="0">
                <a:solidFill>
                  <a:srgbClr val="FF0000"/>
                </a:solidFill>
                <a:latin typeface="Bilo Light" panose="020B0303040000020003"/>
              </a:rPr>
              <a:t> Tax certificate, business letterhead, in non-editable format)</a:t>
            </a:r>
          </a:p>
        </p:txBody>
      </p:sp>
      <p:pic>
        <p:nvPicPr>
          <p:cNvPr id="18" name="Picture 17" descr="A screenshot of a computer&#10;&#10;Description automatically generated">
            <a:extLst>
              <a:ext uri="{FF2B5EF4-FFF2-40B4-BE49-F238E27FC236}">
                <a16:creationId xmlns:a16="http://schemas.microsoft.com/office/drawing/2014/main" id="{0A0D0930-E706-C272-65D2-B079E06442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4282"/>
          <a:stretch/>
        </p:blipFill>
        <p:spPr>
          <a:xfrm>
            <a:off x="508488" y="2164279"/>
            <a:ext cx="7555489" cy="85064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C89A978-7A23-2A37-47DC-74095A96A0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488" y="3114884"/>
            <a:ext cx="7555489" cy="42297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6C2A50B-47F1-E400-4375-FCFF072CCDF5}"/>
              </a:ext>
            </a:extLst>
          </p:cNvPr>
          <p:cNvSpPr txBox="1"/>
          <p:nvPr/>
        </p:nvSpPr>
        <p:spPr>
          <a:xfrm>
            <a:off x="8063977" y="3034566"/>
            <a:ext cx="39008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200" b="1" dirty="0">
                <a:solidFill>
                  <a:srgbClr val="FF0000"/>
                </a:solidFill>
                <a:latin typeface="Bilo Light" panose="020B0303040000020003"/>
              </a:rPr>
              <a:t>Attach any other supporting documentation in non-editable format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226D7E-197D-2677-7997-7E092B7DEF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953" y="3804218"/>
            <a:ext cx="5753903" cy="53347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A745818-617C-23E7-4214-C7DBFD72BC0A}"/>
              </a:ext>
            </a:extLst>
          </p:cNvPr>
          <p:cNvSpPr txBox="1"/>
          <p:nvPr/>
        </p:nvSpPr>
        <p:spPr>
          <a:xfrm>
            <a:off x="8063977" y="3746418"/>
            <a:ext cx="39008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  <a:defRPr/>
            </a:pPr>
            <a:r>
              <a:rPr lang="en-GB" sz="1200" dirty="0">
                <a:latin typeface="Bilo Light" panose="020B0303040000020003"/>
              </a:rPr>
              <a:t>Submit your response (or save as draft if you still have fields to complete) </a:t>
            </a:r>
          </a:p>
          <a:p>
            <a:pPr marL="228600" indent="-228600">
              <a:buAutoNum type="arabicPeriod"/>
              <a:defRPr/>
            </a:pPr>
            <a:r>
              <a:rPr lang="en-GB" sz="1200" dirty="0">
                <a:latin typeface="Bilo Light" panose="020B0303040000020003"/>
              </a:rPr>
              <a:t>Click on OK</a:t>
            </a:r>
          </a:p>
          <a:p>
            <a:pPr marL="228600" indent="-228600">
              <a:buAutoNum type="arabicPeriod"/>
              <a:defRPr/>
            </a:pPr>
            <a:r>
              <a:rPr lang="en-GB" sz="1200" dirty="0">
                <a:latin typeface="Bilo Light" panose="020B0303040000020003"/>
              </a:rPr>
              <a:t>Submission is confirmed</a:t>
            </a:r>
          </a:p>
        </p:txBody>
      </p:sp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37C4029E-F917-5217-2E29-709580FB2F1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8553" t="34141" r="26095" b="26469"/>
          <a:stretch/>
        </p:blipFill>
        <p:spPr>
          <a:xfrm>
            <a:off x="595953" y="4562364"/>
            <a:ext cx="1411261" cy="73592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7" name="Picture 16" descr="A screenshot of a computer&#10;&#10;Description automatically generated">
            <a:extLst>
              <a:ext uri="{FF2B5EF4-FFF2-40B4-BE49-F238E27FC236}">
                <a16:creationId xmlns:a16="http://schemas.microsoft.com/office/drawing/2014/main" id="{3EF65BCF-C5D7-7064-9622-A572EDFFC41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69315"/>
          <a:stretch/>
        </p:blipFill>
        <p:spPr>
          <a:xfrm>
            <a:off x="595953" y="5455172"/>
            <a:ext cx="7150100" cy="94658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9" name="Flowchart: Connector 18">
            <a:extLst>
              <a:ext uri="{FF2B5EF4-FFF2-40B4-BE49-F238E27FC236}">
                <a16:creationId xmlns:a16="http://schemas.microsoft.com/office/drawing/2014/main" id="{9B7C4998-6B3F-91E8-7862-CD10D59B48F5}"/>
              </a:ext>
            </a:extLst>
          </p:cNvPr>
          <p:cNvSpPr/>
          <p:nvPr/>
        </p:nvSpPr>
        <p:spPr>
          <a:xfrm>
            <a:off x="6580591" y="3704626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1</a:t>
            </a:r>
          </a:p>
        </p:txBody>
      </p:sp>
      <p:sp>
        <p:nvSpPr>
          <p:cNvPr id="20" name="Flowchart: Connector 19">
            <a:extLst>
              <a:ext uri="{FF2B5EF4-FFF2-40B4-BE49-F238E27FC236}">
                <a16:creationId xmlns:a16="http://schemas.microsoft.com/office/drawing/2014/main" id="{54A890A6-E4A1-0297-36BE-C4A0C1F10C7D}"/>
              </a:ext>
            </a:extLst>
          </p:cNvPr>
          <p:cNvSpPr/>
          <p:nvPr/>
        </p:nvSpPr>
        <p:spPr>
          <a:xfrm>
            <a:off x="2137137" y="4894761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2</a:t>
            </a:r>
          </a:p>
        </p:txBody>
      </p:sp>
      <p:sp>
        <p:nvSpPr>
          <p:cNvPr id="21" name="Flowchart: Connector 20">
            <a:extLst>
              <a:ext uri="{FF2B5EF4-FFF2-40B4-BE49-F238E27FC236}">
                <a16:creationId xmlns:a16="http://schemas.microsoft.com/office/drawing/2014/main" id="{1F05FE15-3494-DA50-63B6-C965209ADD44}"/>
              </a:ext>
            </a:extLst>
          </p:cNvPr>
          <p:cNvSpPr/>
          <p:nvPr/>
        </p:nvSpPr>
        <p:spPr>
          <a:xfrm>
            <a:off x="6716360" y="5500744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3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0A816AB-E96F-3B5F-86B4-D245D463D03A}"/>
              </a:ext>
            </a:extLst>
          </p:cNvPr>
          <p:cNvSpPr txBox="1"/>
          <p:nvPr/>
        </p:nvSpPr>
        <p:spPr>
          <a:xfrm>
            <a:off x="8126786" y="4803033"/>
            <a:ext cx="3579078" cy="1754326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b="1" dirty="0">
                <a:latin typeface="Bilo Light" panose="020B0303040000020003"/>
              </a:rPr>
              <a:t>For more information you can visit:</a:t>
            </a:r>
            <a:endParaRPr lang="en-US" sz="1200" b="1" dirty="0">
              <a:latin typeface="Bilo Light" panose="020B0303040000020003"/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>
              <a:defRPr/>
            </a:pPr>
            <a:endParaRPr lang="en-US" sz="1200" b="1" dirty="0">
              <a:latin typeface="Bilo Light" panose="020B0303040000020003"/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>
              <a:defRPr/>
            </a:pPr>
            <a:r>
              <a:rPr lang="en-GB" sz="120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liers (liptonteas.com)</a:t>
            </a:r>
            <a:endParaRPr lang="en-US" sz="1200" dirty="0">
              <a:latin typeface="Bilo Light" panose="020B0303040000020003"/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>
              <a:defRPr/>
            </a:pPr>
            <a:endParaRPr lang="en-US" sz="1200" dirty="0">
              <a:latin typeface="Bilo Light" panose="020B0303040000020003"/>
              <a:hlinkClick r:id="rId7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>
              <a:defRPr/>
            </a:pPr>
            <a:r>
              <a:rPr lang="en-US" sz="1200" dirty="0">
                <a:latin typeface="Bilo Light" panose="020B0303040000020003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lcome to your SAP Business Network Standard Account (ariba.com)</a:t>
            </a:r>
            <a:endParaRPr lang="en-US" sz="1200" dirty="0">
              <a:latin typeface="Bilo Light" panose="020B0303040000020003"/>
            </a:endParaRPr>
          </a:p>
          <a:p>
            <a:pPr>
              <a:defRPr/>
            </a:pPr>
            <a:endParaRPr lang="en-US" sz="1200" dirty="0">
              <a:latin typeface="Bilo Light" panose="020B0303040000020003"/>
            </a:endParaRPr>
          </a:p>
          <a:p>
            <a:pPr>
              <a:defRPr/>
            </a:pPr>
            <a:r>
              <a:rPr lang="en-US" sz="1200" dirty="0">
                <a:effectLst/>
                <a:latin typeface="Bilo Light" panose="020B0303040000020003"/>
                <a:ea typeface="Times New Roman" panose="02020603050405020304" pitchFamily="18" charset="0"/>
              </a:rPr>
              <a:t>Please contact </a:t>
            </a:r>
            <a:r>
              <a:rPr lang="en-US" sz="1200" u="sng" dirty="0">
                <a:solidFill>
                  <a:srgbClr val="0563C1"/>
                </a:solidFill>
                <a:effectLst/>
                <a:latin typeface="Bilo Light" panose="020B0303040000020003"/>
                <a:ea typeface="Times New Roman" panose="02020603050405020304" pitchFamily="18" charset="0"/>
                <a:hlinkClick r:id="rId9"/>
              </a:rPr>
              <a:t>SRM@lipton.com</a:t>
            </a:r>
            <a:r>
              <a:rPr lang="en-US" sz="1200" dirty="0">
                <a:effectLst/>
                <a:latin typeface="Bilo Light" panose="020B0303040000020003"/>
                <a:ea typeface="Times New Roman" panose="02020603050405020304" pitchFamily="18" charset="0"/>
              </a:rPr>
              <a:t> for more help.</a:t>
            </a:r>
            <a:endParaRPr lang="en-GB" sz="1200" dirty="0">
              <a:latin typeface="Bilo Light" panose="020B0303040000020003"/>
            </a:endParaRPr>
          </a:p>
          <a:p>
            <a:pPr marL="228600" indent="-228600">
              <a:buAutoNum type="arabicPeriod"/>
              <a:defRPr/>
            </a:pPr>
            <a:endParaRPr lang="en-GB" sz="1200" b="1" dirty="0">
              <a:solidFill>
                <a:srgbClr val="FF0000"/>
              </a:solidFill>
              <a:latin typeface="Bilo Light" panose="020B0303040000020003"/>
            </a:endParaRPr>
          </a:p>
        </p:txBody>
      </p:sp>
    </p:spTree>
    <p:extLst>
      <p:ext uri="{BB962C8B-B14F-4D97-AF65-F5344CB8AC3E}">
        <p14:creationId xmlns:p14="http://schemas.microsoft.com/office/powerpoint/2010/main" val="3666260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F85F59C-A2EC-295D-B2D3-2401254C9B72}"/>
              </a:ext>
            </a:extLst>
          </p:cNvPr>
          <p:cNvSpPr txBox="1"/>
          <p:nvPr/>
        </p:nvSpPr>
        <p:spPr>
          <a:xfrm>
            <a:off x="508488" y="456248"/>
            <a:ext cx="111750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A4054"/>
                </a:solidFill>
                <a:effectLst/>
                <a:uLnTx/>
                <a:uFillTx/>
                <a:latin typeface="Bilo Bold" panose="020B0803040000020003" pitchFamily="34" charset="0"/>
                <a:ea typeface="+mn-ea"/>
                <a:cs typeface="+mn-cs"/>
              </a:rPr>
              <a:t>Supplier Registration with Lipton via </a:t>
            </a:r>
            <a:r>
              <a:rPr lang="en-US" sz="3200" b="1" dirty="0">
                <a:solidFill>
                  <a:srgbClr val="0A4054"/>
                </a:solidFill>
                <a:latin typeface="Bilo Bold" panose="020B0803040000020003" pitchFamily="34" charset="0"/>
              </a:rPr>
              <a:t>SAP Business Network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A4054"/>
              </a:solidFill>
              <a:effectLst/>
              <a:uLnTx/>
              <a:uFillTx/>
              <a:latin typeface="Bilo Bold" panose="020B0803040000020003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406FDB-34BD-6F4A-852F-261613E8244B}"/>
              </a:ext>
            </a:extLst>
          </p:cNvPr>
          <p:cNvSpPr txBox="1"/>
          <p:nvPr/>
        </p:nvSpPr>
        <p:spPr>
          <a:xfrm>
            <a:off x="508488" y="1352675"/>
            <a:ext cx="1128301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800" dirty="0">
                <a:effectLst/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Supplier registration steps will be different for new suppliers and existing suppliers.  This guide </a:t>
            </a: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is for new suppliers that have not already registered with </a:t>
            </a:r>
            <a:r>
              <a:rPr lang="en-US" b="1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Lipton's</a:t>
            </a: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 SAP Business Network, if you have registered, please view the document for existing suppliers.</a:t>
            </a:r>
          </a:p>
          <a:p>
            <a:pPr>
              <a:defRPr/>
            </a:pPr>
            <a:r>
              <a:rPr lang="en-US" b="1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If you have already registered with SAP Business Network to invoice us, please register again to this Supplier Lifecycle </a:t>
            </a:r>
            <a:r>
              <a:rPr lang="en-US" b="1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Management Platform</a:t>
            </a:r>
            <a:endParaRPr lang="en-US" b="1" dirty="0">
              <a:latin typeface="Bilo Light" panose="020B03030400000200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dirty="0">
              <a:latin typeface="Bilo Light" panose="020B03030400000200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You will receive an invitation email to register from an email ID ending </a:t>
            </a:r>
            <a:r>
              <a:rPr lang="en-US" sz="1800" u="sng" dirty="0">
                <a:solidFill>
                  <a:srgbClr val="0563C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hlinkClick r:id="rId2"/>
              </a:rPr>
              <a:t>xxx@eusmtp.ariba.com</a:t>
            </a:r>
            <a:r>
              <a:rPr lang="en-US" sz="1800" u="sng" dirty="0">
                <a:solidFill>
                  <a:srgbClr val="0563C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 Please check your inbox and junk mail, then “Click here” to create your account</a:t>
            </a: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4449CFA8-FE47-EE3D-570B-0C97510EAE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355" y="3972651"/>
            <a:ext cx="5966822" cy="239815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8752083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F85F59C-A2EC-295D-B2D3-2401254C9B72}"/>
              </a:ext>
            </a:extLst>
          </p:cNvPr>
          <p:cNvSpPr txBox="1"/>
          <p:nvPr/>
        </p:nvSpPr>
        <p:spPr>
          <a:xfrm>
            <a:off x="508488" y="456248"/>
            <a:ext cx="111750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A4054"/>
                </a:solidFill>
                <a:effectLst/>
                <a:uLnTx/>
                <a:uFillTx/>
                <a:latin typeface="Bilo Bold" panose="020B0803040000020003" pitchFamily="34" charset="0"/>
                <a:ea typeface="+mn-ea"/>
                <a:cs typeface="+mn-cs"/>
              </a:rPr>
              <a:t>Supplier Registration with Lipton via SAP Business </a:t>
            </a:r>
            <a:r>
              <a:rPr lang="en-US" sz="3200" b="1" dirty="0">
                <a:solidFill>
                  <a:srgbClr val="0A4054"/>
                </a:solidFill>
                <a:latin typeface="Bilo Bold" panose="020B0803040000020003" pitchFamily="34" charset="0"/>
              </a:rPr>
              <a:t>Network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A4054"/>
              </a:solidFill>
              <a:effectLst/>
              <a:highlight>
                <a:srgbClr val="FFFF00"/>
              </a:highlight>
              <a:uLnTx/>
              <a:uFillTx/>
              <a:latin typeface="Bilo Bold" panose="020B0803040000020003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406FDB-34BD-6F4A-852F-261613E8244B}"/>
              </a:ext>
            </a:extLst>
          </p:cNvPr>
          <p:cNvSpPr txBox="1"/>
          <p:nvPr/>
        </p:nvSpPr>
        <p:spPr>
          <a:xfrm>
            <a:off x="508488" y="1530828"/>
            <a:ext cx="48629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800" dirty="0">
                <a:effectLst/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Now click “Sign Up” to begin the process.  If you are already registered and use the SAP Business Network standar</a:t>
            </a: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d account </a:t>
            </a:r>
            <a:r>
              <a:rPr lang="en-US" sz="1800" dirty="0">
                <a:effectLst/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for other companies, you will still need to register for Lipton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D23D8E-359E-C818-8C3C-2542FD8448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6612" y="1381878"/>
            <a:ext cx="3791048" cy="15693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D856D3E-573D-6E4F-FA15-95884CA81DB6}"/>
              </a:ext>
            </a:extLst>
          </p:cNvPr>
          <p:cNvSpPr txBox="1"/>
          <p:nvPr/>
        </p:nvSpPr>
        <p:spPr>
          <a:xfrm>
            <a:off x="508488" y="3186044"/>
            <a:ext cx="486290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800" dirty="0">
                <a:effectLst/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Enter your company details as shown, ensuring that you use your company legal name, and you can provide supporting documentation as proof if required. Any fields marked * are mandatory.</a:t>
            </a:r>
          </a:p>
          <a:p>
            <a:pPr>
              <a:defRPr/>
            </a:pPr>
            <a:endParaRPr lang="en-US" sz="1800" dirty="0">
              <a:effectLst/>
              <a:latin typeface="Bilo Light" panose="020B03030400000200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Once complete, click “Create account and continue”</a:t>
            </a:r>
            <a:endParaRPr lang="en-US" sz="1800" dirty="0">
              <a:effectLst/>
              <a:latin typeface="Bilo Light" panose="020B03030400000200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dirty="0">
              <a:latin typeface="Bilo Light" panose="020B0303040000020003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8AFAE93-16FB-9721-7F95-D5C0E90A3305}"/>
              </a:ext>
            </a:extLst>
          </p:cNvPr>
          <p:cNvGrpSpPr/>
          <p:nvPr/>
        </p:nvGrpSpPr>
        <p:grpSpPr>
          <a:xfrm>
            <a:off x="5476612" y="3279175"/>
            <a:ext cx="6318553" cy="3109619"/>
            <a:chOff x="5476612" y="3393890"/>
            <a:chExt cx="6318553" cy="3109619"/>
          </a:xfrm>
        </p:grpSpPr>
        <p:pic>
          <p:nvPicPr>
            <p:cNvPr id="8" name="Graphic 1">
              <a:extLst>
                <a:ext uri="{FF2B5EF4-FFF2-40B4-BE49-F238E27FC236}">
                  <a16:creationId xmlns:a16="http://schemas.microsoft.com/office/drawing/2014/main" id="{65CB2826-C9F0-9304-B119-29D0E703F7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476612" y="3393890"/>
              <a:ext cx="6318553" cy="3109619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736A334-AA65-B855-1BD9-0854742A779B}"/>
                </a:ext>
              </a:extLst>
            </p:cNvPr>
            <p:cNvSpPr/>
            <p:nvPr/>
          </p:nvSpPr>
          <p:spPr>
            <a:xfrm>
              <a:off x="9670211" y="5158596"/>
              <a:ext cx="1923691" cy="8453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24861C2F-A124-EEC5-E3CB-C1A9AB2ED271}"/>
              </a:ext>
            </a:extLst>
          </p:cNvPr>
          <p:cNvSpPr/>
          <p:nvPr/>
        </p:nvSpPr>
        <p:spPr>
          <a:xfrm>
            <a:off x="9937630" y="3230575"/>
            <a:ext cx="1250830" cy="401146"/>
          </a:xfrm>
          <a:prstGeom prst="rect">
            <a:avLst/>
          </a:prstGeom>
          <a:noFill/>
          <a:ln w="28575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23485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F85F59C-A2EC-295D-B2D3-2401254C9B72}"/>
              </a:ext>
            </a:extLst>
          </p:cNvPr>
          <p:cNvSpPr txBox="1"/>
          <p:nvPr/>
        </p:nvSpPr>
        <p:spPr>
          <a:xfrm>
            <a:off x="508488" y="456248"/>
            <a:ext cx="111750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A4054"/>
                </a:solidFill>
                <a:effectLst/>
                <a:uLnTx/>
                <a:uFillTx/>
                <a:latin typeface="Bilo Bold" panose="020B0803040000020003" pitchFamily="34" charset="0"/>
                <a:ea typeface="+mn-ea"/>
                <a:cs typeface="+mn-cs"/>
              </a:rPr>
              <a:t>Supplier Registration with Lipton via </a:t>
            </a:r>
            <a:r>
              <a:rPr lang="en-US" sz="3200" b="1" dirty="0">
                <a:solidFill>
                  <a:srgbClr val="0A4054"/>
                </a:solidFill>
                <a:latin typeface="Bilo Bold" panose="020B0803040000020003" pitchFamily="34" charset="0"/>
              </a:rPr>
              <a:t>SAP Business Network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A4054"/>
              </a:solidFill>
              <a:effectLst/>
              <a:uLnTx/>
              <a:uFillTx/>
              <a:latin typeface="Bilo Bold" panose="020B0803040000020003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D856D3E-573D-6E4F-FA15-95884CA81DB6}"/>
              </a:ext>
            </a:extLst>
          </p:cNvPr>
          <p:cNvSpPr txBox="1"/>
          <p:nvPr/>
        </p:nvSpPr>
        <p:spPr>
          <a:xfrm>
            <a:off x="451260" y="1655079"/>
            <a:ext cx="522564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800" dirty="0">
                <a:effectLst/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Now enter your user account information</a:t>
            </a:r>
          </a:p>
          <a:p>
            <a:pPr>
              <a:defRPr/>
            </a:pPr>
            <a:endParaRPr lang="en-US" sz="1800" b="1" dirty="0">
              <a:effectLst/>
              <a:latin typeface="Bilo Light" panose="020B0303040000020003"/>
              <a:ea typeface="Times New Roman" panose="02020603050405020304" pitchFamily="18" charset="0"/>
            </a:endParaRPr>
          </a:p>
          <a:p>
            <a:pPr>
              <a:defRPr/>
            </a:pPr>
            <a:r>
              <a:rPr lang="en-US" sz="1800" b="1" dirty="0">
                <a:effectLst/>
                <a:latin typeface="Bilo Light" panose="020B0303040000020003"/>
                <a:ea typeface="Times New Roman" panose="02020603050405020304" pitchFamily="18" charset="0"/>
              </a:rPr>
              <a:t>Its important to note:</a:t>
            </a:r>
            <a:r>
              <a:rPr lang="en-US" sz="1800" dirty="0">
                <a:effectLst/>
                <a:latin typeface="Bilo Light" panose="020B0303040000020003"/>
                <a:ea typeface="Times New Roman" panose="02020603050405020304" pitchFamily="18" charset="0"/>
              </a:rPr>
              <a:t> </a:t>
            </a:r>
          </a:p>
          <a:p>
            <a:pPr lvl="0"/>
            <a:r>
              <a:rPr lang="en-US" dirty="0">
                <a:latin typeface="Bilo Light" panose="020B0303040000020003"/>
                <a:ea typeface="Times New Roman" panose="02020603050405020304" pitchFamily="18" charset="0"/>
              </a:rPr>
              <a:t>It is best practice to not </a:t>
            </a:r>
            <a:r>
              <a:rPr lang="en-US" sz="1800" dirty="0">
                <a:effectLst/>
                <a:latin typeface="Bilo Light" panose="020B0303040000020003"/>
                <a:ea typeface="Times New Roman" panose="02020603050405020304" pitchFamily="18" charset="0"/>
              </a:rPr>
              <a:t>use email ID as a username, especially if you are managing several legal entities for your business</a:t>
            </a:r>
            <a:r>
              <a:rPr lang="en-US" dirty="0">
                <a:latin typeface="Bilo Light" panose="020B0303040000020003"/>
                <a:ea typeface="Times New Roman" panose="02020603050405020304" pitchFamily="18" charset="0"/>
              </a:rPr>
              <a:t>, so p</a:t>
            </a:r>
            <a:r>
              <a:rPr lang="en-US" sz="1800" dirty="0">
                <a:effectLst/>
                <a:latin typeface="Bilo Light" panose="020B0303040000020003"/>
                <a:ea typeface="Times New Roman" panose="02020603050405020304" pitchFamily="18" charset="0"/>
              </a:rPr>
              <a:t>lease don’t check the box “</a:t>
            </a:r>
            <a:r>
              <a:rPr lang="en-US" sz="1800" b="1" dirty="0">
                <a:effectLst/>
                <a:latin typeface="Bilo Light" panose="020B0303040000020003"/>
                <a:ea typeface="Times New Roman" panose="02020603050405020304" pitchFamily="18" charset="0"/>
              </a:rPr>
              <a:t>use my email as my username” </a:t>
            </a:r>
          </a:p>
          <a:p>
            <a:pPr lvl="0"/>
            <a:endParaRPr lang="en-US" sz="1800" b="1" dirty="0">
              <a:effectLst/>
              <a:latin typeface="Bilo Light" panose="020B0303040000020003"/>
              <a:ea typeface="Times New Roman" panose="02020603050405020304" pitchFamily="18" charset="0"/>
            </a:endParaRPr>
          </a:p>
          <a:p>
            <a:pPr>
              <a:defRPr/>
            </a:pPr>
            <a:r>
              <a:rPr lang="en-US" sz="1800" dirty="0">
                <a:effectLst/>
                <a:latin typeface="Bilo Light" panose="020B0303040000020003"/>
                <a:ea typeface="Times New Roman" panose="02020603050405020304" pitchFamily="18" charset="0"/>
              </a:rPr>
              <a:t>Instead, create a unique username id for each legal entity that you are managing. </a:t>
            </a:r>
            <a:endParaRPr lang="en-GB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defRPr/>
            </a:pPr>
            <a:endParaRPr lang="en-US" dirty="0">
              <a:latin typeface="Bilo Light" panose="020B03030400000200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Its important to enter here, the correct email address of the person who should receive orders.</a:t>
            </a:r>
          </a:p>
        </p:txBody>
      </p:sp>
      <p:pic>
        <p:nvPicPr>
          <p:cNvPr id="3" name="Graphic 1">
            <a:extLst>
              <a:ext uri="{FF2B5EF4-FFF2-40B4-BE49-F238E27FC236}">
                <a16:creationId xmlns:a16="http://schemas.microsoft.com/office/drawing/2014/main" id="{068DE810-93BE-8A8B-0544-B79D1DFEAB8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6505"/>
          <a:stretch/>
        </p:blipFill>
        <p:spPr>
          <a:xfrm>
            <a:off x="5940719" y="1987998"/>
            <a:ext cx="6094562" cy="3760470"/>
          </a:xfrm>
          <a:prstGeom prst="rect">
            <a:avLst/>
          </a:prstGeom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E4CFF6F2-1216-DA89-26D4-BCA8A5FAD47A}"/>
              </a:ext>
            </a:extLst>
          </p:cNvPr>
          <p:cNvSpPr/>
          <p:nvPr/>
        </p:nvSpPr>
        <p:spPr>
          <a:xfrm>
            <a:off x="5676899" y="3046349"/>
            <a:ext cx="681487" cy="229683"/>
          </a:xfrm>
          <a:prstGeom prst="right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7165FB99-0F55-2047-3EA9-9E265136EA9A}"/>
              </a:ext>
            </a:extLst>
          </p:cNvPr>
          <p:cNvSpPr/>
          <p:nvPr/>
        </p:nvSpPr>
        <p:spPr>
          <a:xfrm>
            <a:off x="5676900" y="5004908"/>
            <a:ext cx="681487" cy="229683"/>
          </a:xfrm>
          <a:prstGeom prst="right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A43F0E-8523-4C14-FAF1-1DB98F11E1A5}"/>
              </a:ext>
            </a:extLst>
          </p:cNvPr>
          <p:cNvSpPr txBox="1"/>
          <p:nvPr/>
        </p:nvSpPr>
        <p:spPr>
          <a:xfrm>
            <a:off x="444407" y="5903410"/>
            <a:ext cx="99948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800" dirty="0">
                <a:effectLst/>
                <a:latin typeface="Bilo Light" panose="020B0303040000020003"/>
                <a:ea typeface="Times New Roman" panose="02020603050405020304" pitchFamily="18" charset="0"/>
              </a:rPr>
              <a:t>If you have any issues with Ariba registration process, please contact </a:t>
            </a:r>
            <a:r>
              <a:rPr lang="en-US" sz="1800" u="sng" dirty="0">
                <a:solidFill>
                  <a:srgbClr val="0563C1"/>
                </a:solidFill>
                <a:effectLst/>
                <a:latin typeface="Bilo Light" panose="020B0303040000020003"/>
                <a:ea typeface="Times New Roman" panose="02020603050405020304" pitchFamily="18" charset="0"/>
                <a:hlinkClick r:id="rId4"/>
              </a:rPr>
              <a:t>SRM@lipton.com</a:t>
            </a:r>
            <a:r>
              <a:rPr lang="en-US" sz="1800" dirty="0">
                <a:effectLst/>
                <a:latin typeface="Bilo Light" panose="020B0303040000020003"/>
                <a:ea typeface="Times New Roman" panose="02020603050405020304" pitchFamily="18" charset="0"/>
              </a:rPr>
              <a:t> for more help.</a:t>
            </a:r>
            <a:endParaRPr lang="en-GB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19165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F85F59C-A2EC-295D-B2D3-2401254C9B72}"/>
              </a:ext>
            </a:extLst>
          </p:cNvPr>
          <p:cNvSpPr txBox="1"/>
          <p:nvPr/>
        </p:nvSpPr>
        <p:spPr>
          <a:xfrm>
            <a:off x="508488" y="456248"/>
            <a:ext cx="111750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A4054"/>
                </a:solidFill>
                <a:effectLst/>
                <a:uLnTx/>
                <a:uFillTx/>
                <a:latin typeface="Bilo Bold" panose="020B0803040000020003" pitchFamily="34" charset="0"/>
                <a:ea typeface="+mn-ea"/>
                <a:cs typeface="+mn-cs"/>
              </a:rPr>
              <a:t>Supplier Registration with Lipton via </a:t>
            </a:r>
            <a:r>
              <a:rPr lang="en-US" sz="3200" b="1" dirty="0">
                <a:solidFill>
                  <a:srgbClr val="0A4054"/>
                </a:solidFill>
                <a:latin typeface="Bilo Bold" panose="020B0803040000020003" pitchFamily="34" charset="0"/>
              </a:rPr>
              <a:t>SAP Business Network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A4054"/>
              </a:solidFill>
              <a:effectLst/>
              <a:uLnTx/>
              <a:uFillTx/>
              <a:latin typeface="Bilo Bold" panose="020B0803040000020003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D856D3E-573D-6E4F-FA15-95884CA81DB6}"/>
              </a:ext>
            </a:extLst>
          </p:cNvPr>
          <p:cNvSpPr txBox="1"/>
          <p:nvPr/>
        </p:nvSpPr>
        <p:spPr>
          <a:xfrm>
            <a:off x="919158" y="5095146"/>
            <a:ext cx="55516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Select the ship to or service location by clicking browse, </a:t>
            </a:r>
          </a:p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then click on the location that best fits and move across the screen selecting the location in each column as shown, and finally click “OK”</a:t>
            </a:r>
          </a:p>
        </p:txBody>
      </p:sp>
      <p:pic>
        <p:nvPicPr>
          <p:cNvPr id="4" name="Graphic 1">
            <a:extLst>
              <a:ext uri="{FF2B5EF4-FFF2-40B4-BE49-F238E27FC236}">
                <a16:creationId xmlns:a16="http://schemas.microsoft.com/office/drawing/2014/main" id="{4BEFC6C1-1079-C300-4A23-D4B06DF499D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200" b="26838"/>
          <a:stretch/>
        </p:blipFill>
        <p:spPr>
          <a:xfrm>
            <a:off x="391134" y="1533466"/>
            <a:ext cx="4873406" cy="2728243"/>
          </a:xfrm>
          <a:prstGeom prst="rect">
            <a:avLst/>
          </a:prstGeom>
        </p:spPr>
      </p:pic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C2360E16-E12B-923E-715C-64F55C485B85}"/>
              </a:ext>
            </a:extLst>
          </p:cNvPr>
          <p:cNvSpPr/>
          <p:nvPr/>
        </p:nvSpPr>
        <p:spPr>
          <a:xfrm>
            <a:off x="3047720" y="1837463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1</a:t>
            </a: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BBE0FD7E-E04B-59AE-F9D1-36EF27EF584E}"/>
              </a:ext>
            </a:extLst>
          </p:cNvPr>
          <p:cNvSpPr/>
          <p:nvPr/>
        </p:nvSpPr>
        <p:spPr>
          <a:xfrm>
            <a:off x="5284528" y="1554659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1</a:t>
            </a:r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E1C0E660-967B-2E9D-22FD-A6D0E5FBCE4A}"/>
              </a:ext>
            </a:extLst>
          </p:cNvPr>
          <p:cNvSpPr/>
          <p:nvPr/>
        </p:nvSpPr>
        <p:spPr>
          <a:xfrm>
            <a:off x="3047720" y="2274145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2</a:t>
            </a:r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2250BC45-D8EE-5078-E762-2BB862A6BB43}"/>
              </a:ext>
            </a:extLst>
          </p:cNvPr>
          <p:cNvSpPr/>
          <p:nvPr/>
        </p:nvSpPr>
        <p:spPr>
          <a:xfrm>
            <a:off x="5963587" y="4794775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2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EEEAE85-9D1E-454E-CC19-2B7219A4C9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4193" y="4692910"/>
            <a:ext cx="5088555" cy="177172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C8C4459-C7BE-D372-15E0-0637FAAC51C0}"/>
              </a:ext>
            </a:extLst>
          </p:cNvPr>
          <p:cNvSpPr txBox="1"/>
          <p:nvPr/>
        </p:nvSpPr>
        <p:spPr>
          <a:xfrm>
            <a:off x="5569339" y="1476908"/>
            <a:ext cx="63351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Select the category by clicking browse</a:t>
            </a:r>
          </a:p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Then click on the category that best fits and move across the screen selecting the category in each column as shown below, then click OK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28EB5A5-0E34-31A1-F335-55F44EA9F909}"/>
              </a:ext>
            </a:extLst>
          </p:cNvPr>
          <p:cNvGrpSpPr/>
          <p:nvPr/>
        </p:nvGrpSpPr>
        <p:grpSpPr>
          <a:xfrm>
            <a:off x="6228410" y="2632287"/>
            <a:ext cx="4899787" cy="1861006"/>
            <a:chOff x="6619725" y="2274145"/>
            <a:chExt cx="4899787" cy="186100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9E075C2-1D80-5590-2211-A432786045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619725" y="2274145"/>
              <a:ext cx="4899787" cy="1631269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8E576F9-C238-CB58-5EB1-D8989C1EF8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85188"/>
            <a:stretch/>
          </p:blipFill>
          <p:spPr>
            <a:xfrm>
              <a:off x="6966800" y="3905414"/>
              <a:ext cx="4454575" cy="2297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64099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F85F59C-A2EC-295D-B2D3-2401254C9B72}"/>
              </a:ext>
            </a:extLst>
          </p:cNvPr>
          <p:cNvSpPr txBox="1"/>
          <p:nvPr/>
        </p:nvSpPr>
        <p:spPr>
          <a:xfrm>
            <a:off x="508488" y="456248"/>
            <a:ext cx="111750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A4054"/>
                </a:solidFill>
                <a:effectLst/>
                <a:uLnTx/>
                <a:uFillTx/>
                <a:latin typeface="Bilo Bold" panose="020B0803040000020003" pitchFamily="34" charset="0"/>
                <a:ea typeface="+mn-ea"/>
                <a:cs typeface="+mn-cs"/>
              </a:rPr>
              <a:t>Supplier Registration with Lipton via </a:t>
            </a:r>
            <a:r>
              <a:rPr lang="en-US" sz="3200" b="1" dirty="0">
                <a:solidFill>
                  <a:srgbClr val="0A4054"/>
                </a:solidFill>
                <a:latin typeface="Bilo Bold" panose="020B0803040000020003" pitchFamily="34" charset="0"/>
              </a:rPr>
              <a:t>SAP Business Network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A4054"/>
              </a:solidFill>
              <a:effectLst/>
              <a:uLnTx/>
              <a:uFillTx/>
              <a:latin typeface="Bilo Bold" panose="020B0803040000020003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D856D3E-573D-6E4F-FA15-95884CA81DB6}"/>
              </a:ext>
            </a:extLst>
          </p:cNvPr>
          <p:cNvSpPr txBox="1"/>
          <p:nvPr/>
        </p:nvSpPr>
        <p:spPr>
          <a:xfrm>
            <a:off x="5988573" y="2029382"/>
            <a:ext cx="555168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Enter your Tax ID number (if applicable)</a:t>
            </a:r>
          </a:p>
          <a:p>
            <a:pPr>
              <a:defRPr/>
            </a:pPr>
            <a:endParaRPr lang="en-US" dirty="0">
              <a:latin typeface="Bilo Light" panose="020B03030400000200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Enter your DUNS number (if applicable)</a:t>
            </a:r>
          </a:p>
          <a:p>
            <a:pPr>
              <a:defRPr/>
            </a:pPr>
            <a:endParaRPr lang="en-US" dirty="0">
              <a:latin typeface="Bilo Light" panose="020B03030400000200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Agree to the Terms by checking the boxes, then then click “Create account and continue”. Matches are based on company name, email domain/address. </a:t>
            </a:r>
            <a:endParaRPr lang="en-US" dirty="0">
              <a:highlight>
                <a:srgbClr val="FFFF00"/>
              </a:highlight>
              <a:latin typeface="Bilo Light" panose="020B03030400000200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dirty="0">
              <a:latin typeface="Bilo Light" panose="020B03030400000200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If there is an account that has data that matches the data you entered, you will be prompted to “Review accounts” to check any matching accounts are not duplicated.</a:t>
            </a:r>
          </a:p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If you do not see this screen, please proceed to Step 7</a:t>
            </a:r>
          </a:p>
          <a:p>
            <a:pPr>
              <a:defRPr/>
            </a:pPr>
            <a:endParaRPr lang="en-US" dirty="0">
              <a:latin typeface="Bilo Light" panose="020B03030400000200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dirty="0">
              <a:highlight>
                <a:srgbClr val="FFFF00"/>
              </a:highlight>
              <a:latin typeface="Bilo Light" panose="020B0303040000020003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4" name="Graphic 1">
            <a:extLst>
              <a:ext uri="{FF2B5EF4-FFF2-40B4-BE49-F238E27FC236}">
                <a16:creationId xmlns:a16="http://schemas.microsoft.com/office/drawing/2014/main" id="{4BEFC6C1-1079-C300-4A23-D4B06DF499D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200" b="26838"/>
          <a:stretch/>
        </p:blipFill>
        <p:spPr>
          <a:xfrm>
            <a:off x="537780" y="1956158"/>
            <a:ext cx="4873406" cy="2728243"/>
          </a:xfrm>
          <a:prstGeom prst="rect">
            <a:avLst/>
          </a:prstGeom>
        </p:spPr>
      </p:pic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C2360E16-E12B-923E-715C-64F55C485B85}"/>
              </a:ext>
            </a:extLst>
          </p:cNvPr>
          <p:cNvSpPr/>
          <p:nvPr/>
        </p:nvSpPr>
        <p:spPr>
          <a:xfrm>
            <a:off x="2929542" y="3136586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3</a:t>
            </a: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BBE0FD7E-E04B-59AE-F9D1-36EF27EF584E}"/>
              </a:ext>
            </a:extLst>
          </p:cNvPr>
          <p:cNvSpPr/>
          <p:nvPr/>
        </p:nvSpPr>
        <p:spPr>
          <a:xfrm>
            <a:off x="5567467" y="2080148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3</a:t>
            </a:r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E1C0E660-967B-2E9D-22FD-A6D0E5FBCE4A}"/>
              </a:ext>
            </a:extLst>
          </p:cNvPr>
          <p:cNvSpPr/>
          <p:nvPr/>
        </p:nvSpPr>
        <p:spPr>
          <a:xfrm>
            <a:off x="2929543" y="3548009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4</a:t>
            </a:r>
          </a:p>
        </p:txBody>
      </p:sp>
      <p:sp>
        <p:nvSpPr>
          <p:cNvPr id="3" name="Flowchart: Connector 2">
            <a:extLst>
              <a:ext uri="{FF2B5EF4-FFF2-40B4-BE49-F238E27FC236}">
                <a16:creationId xmlns:a16="http://schemas.microsoft.com/office/drawing/2014/main" id="{82B63E47-0A17-DE7F-CF1B-7DFBB76363D1}"/>
              </a:ext>
            </a:extLst>
          </p:cNvPr>
          <p:cNvSpPr/>
          <p:nvPr/>
        </p:nvSpPr>
        <p:spPr>
          <a:xfrm>
            <a:off x="5567467" y="2629213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4</a:t>
            </a:r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695ED876-B17B-003D-F6D6-E04361F0322C}"/>
              </a:ext>
            </a:extLst>
          </p:cNvPr>
          <p:cNvSpPr/>
          <p:nvPr/>
        </p:nvSpPr>
        <p:spPr>
          <a:xfrm>
            <a:off x="2932136" y="4304155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5</a:t>
            </a:r>
          </a:p>
        </p:txBody>
      </p:sp>
      <p:sp>
        <p:nvSpPr>
          <p:cNvPr id="12" name="Flowchart: Connector 11">
            <a:extLst>
              <a:ext uri="{FF2B5EF4-FFF2-40B4-BE49-F238E27FC236}">
                <a16:creationId xmlns:a16="http://schemas.microsoft.com/office/drawing/2014/main" id="{274EF8DD-3DA7-5D33-6BD7-CD550AE9AF66}"/>
              </a:ext>
            </a:extLst>
          </p:cNvPr>
          <p:cNvSpPr/>
          <p:nvPr/>
        </p:nvSpPr>
        <p:spPr>
          <a:xfrm>
            <a:off x="5567467" y="3179514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5</a:t>
            </a:r>
          </a:p>
        </p:txBody>
      </p:sp>
      <p:pic>
        <p:nvPicPr>
          <p:cNvPr id="17" name="Picture 16" descr="A screenshot of a computer&#10;&#10;Description automatically generated">
            <a:extLst>
              <a:ext uri="{FF2B5EF4-FFF2-40B4-BE49-F238E27FC236}">
                <a16:creationId xmlns:a16="http://schemas.microsoft.com/office/drawing/2014/main" id="{3EDA5651-1E60-1409-FCA8-F65C8DA2B3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258" y="4978370"/>
            <a:ext cx="3267531" cy="847843"/>
          </a:xfrm>
          <a:prstGeom prst="rect">
            <a:avLst/>
          </a:prstGeom>
        </p:spPr>
      </p:pic>
      <p:sp>
        <p:nvSpPr>
          <p:cNvPr id="18" name="Flowchart: Connector 17">
            <a:extLst>
              <a:ext uri="{FF2B5EF4-FFF2-40B4-BE49-F238E27FC236}">
                <a16:creationId xmlns:a16="http://schemas.microsoft.com/office/drawing/2014/main" id="{8FEA8840-B043-F1FA-BE0D-E8414FA7C513}"/>
              </a:ext>
            </a:extLst>
          </p:cNvPr>
          <p:cNvSpPr/>
          <p:nvPr/>
        </p:nvSpPr>
        <p:spPr>
          <a:xfrm>
            <a:off x="5591315" y="4252989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6</a:t>
            </a:r>
          </a:p>
        </p:txBody>
      </p:sp>
      <p:sp>
        <p:nvSpPr>
          <p:cNvPr id="19" name="Flowchart: Connector 18">
            <a:extLst>
              <a:ext uri="{FF2B5EF4-FFF2-40B4-BE49-F238E27FC236}">
                <a16:creationId xmlns:a16="http://schemas.microsoft.com/office/drawing/2014/main" id="{E37FB0AC-2DA7-EC1F-8BA1-F074BE10234B}"/>
              </a:ext>
            </a:extLst>
          </p:cNvPr>
          <p:cNvSpPr/>
          <p:nvPr/>
        </p:nvSpPr>
        <p:spPr>
          <a:xfrm>
            <a:off x="2929542" y="4833392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5422038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F85F59C-A2EC-295D-B2D3-2401254C9B72}"/>
              </a:ext>
            </a:extLst>
          </p:cNvPr>
          <p:cNvSpPr txBox="1"/>
          <p:nvPr/>
        </p:nvSpPr>
        <p:spPr>
          <a:xfrm>
            <a:off x="508488" y="456248"/>
            <a:ext cx="111750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A4054"/>
                </a:solidFill>
                <a:effectLst/>
                <a:uLnTx/>
                <a:uFillTx/>
                <a:latin typeface="Bilo Bold" panose="020B0803040000020003" pitchFamily="34" charset="0"/>
                <a:ea typeface="+mn-ea"/>
                <a:cs typeface="+mn-cs"/>
              </a:rPr>
              <a:t>Supplier Registration with Lipton via </a:t>
            </a:r>
            <a:r>
              <a:rPr lang="en-US" sz="3200" b="1" dirty="0">
                <a:solidFill>
                  <a:srgbClr val="0A4054"/>
                </a:solidFill>
                <a:latin typeface="Bilo Bold" panose="020B0803040000020003" pitchFamily="34" charset="0"/>
              </a:rPr>
              <a:t>SAP Business Network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A4054"/>
              </a:solidFill>
              <a:effectLst/>
              <a:uLnTx/>
              <a:uFillTx/>
              <a:latin typeface="Bilo Bold" panose="020B0803040000020003" pitchFamily="34" charset="0"/>
              <a:ea typeface="+mn-ea"/>
              <a:cs typeface="+mn-cs"/>
            </a:endParaRPr>
          </a:p>
        </p:txBody>
      </p:sp>
      <p:pic>
        <p:nvPicPr>
          <p:cNvPr id="21" name="Picture 20" descr="A screenshot of a computer&#10;&#10;Description automatically generated">
            <a:extLst>
              <a:ext uri="{FF2B5EF4-FFF2-40B4-BE49-F238E27FC236}">
                <a16:creationId xmlns:a16="http://schemas.microsoft.com/office/drawing/2014/main" id="{139764B0-875F-1244-B59C-D06B879667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924" y="1752621"/>
            <a:ext cx="4772691" cy="101931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70017F2-1B35-E915-B464-2EB1BF27A821}"/>
              </a:ext>
            </a:extLst>
          </p:cNvPr>
          <p:cNvSpPr txBox="1"/>
          <p:nvPr/>
        </p:nvSpPr>
        <p:spPr>
          <a:xfrm>
            <a:off x="5572637" y="1745616"/>
            <a:ext cx="60803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If there is no match, click “Continue Account Creation”</a:t>
            </a:r>
            <a:endParaRPr lang="en-US" dirty="0">
              <a:highlight>
                <a:srgbClr val="FFFF00"/>
              </a:highlight>
              <a:latin typeface="Bilo Light" panose="020B0303040000020003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5" name="Flowchart: Connector 24">
            <a:extLst>
              <a:ext uri="{FF2B5EF4-FFF2-40B4-BE49-F238E27FC236}">
                <a16:creationId xmlns:a16="http://schemas.microsoft.com/office/drawing/2014/main" id="{13F0C823-04DB-5AC4-711B-E906953C6DFE}"/>
              </a:ext>
            </a:extLst>
          </p:cNvPr>
          <p:cNvSpPr/>
          <p:nvPr/>
        </p:nvSpPr>
        <p:spPr>
          <a:xfrm>
            <a:off x="335477" y="1752621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7</a:t>
            </a:r>
          </a:p>
        </p:txBody>
      </p:sp>
      <p:sp>
        <p:nvSpPr>
          <p:cNvPr id="26" name="Flowchart: Connector 25">
            <a:extLst>
              <a:ext uri="{FF2B5EF4-FFF2-40B4-BE49-F238E27FC236}">
                <a16:creationId xmlns:a16="http://schemas.microsoft.com/office/drawing/2014/main" id="{A53A3501-BBFF-25C3-051A-FAD158D95253}"/>
              </a:ext>
            </a:extLst>
          </p:cNvPr>
          <p:cNvSpPr/>
          <p:nvPr/>
        </p:nvSpPr>
        <p:spPr>
          <a:xfrm>
            <a:off x="5307815" y="1802110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7</a:t>
            </a:r>
          </a:p>
        </p:txBody>
      </p:sp>
      <p:sp>
        <p:nvSpPr>
          <p:cNvPr id="27" name="Flowchart: Connector 26">
            <a:extLst>
              <a:ext uri="{FF2B5EF4-FFF2-40B4-BE49-F238E27FC236}">
                <a16:creationId xmlns:a16="http://schemas.microsoft.com/office/drawing/2014/main" id="{F32057CE-2681-A3E7-1DB5-7715FF7E93EC}"/>
              </a:ext>
            </a:extLst>
          </p:cNvPr>
          <p:cNvSpPr/>
          <p:nvPr/>
        </p:nvSpPr>
        <p:spPr>
          <a:xfrm>
            <a:off x="5323097" y="2518553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8</a:t>
            </a:r>
          </a:p>
        </p:txBody>
      </p:sp>
      <p:pic>
        <p:nvPicPr>
          <p:cNvPr id="29" name="Picture 28" descr="A screenshot of a computer&#10;&#10;Description automatically generated">
            <a:extLst>
              <a:ext uri="{FF2B5EF4-FFF2-40B4-BE49-F238E27FC236}">
                <a16:creationId xmlns:a16="http://schemas.microsoft.com/office/drawing/2014/main" id="{371A4216-5520-29AD-6EC3-A5C80A8039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88" y="2930313"/>
            <a:ext cx="4839927" cy="793951"/>
          </a:xfrm>
          <a:prstGeom prst="rect">
            <a:avLst/>
          </a:prstGeom>
        </p:spPr>
      </p:pic>
      <p:sp>
        <p:nvSpPr>
          <p:cNvPr id="30" name="Flowchart: Connector 29">
            <a:extLst>
              <a:ext uri="{FF2B5EF4-FFF2-40B4-BE49-F238E27FC236}">
                <a16:creationId xmlns:a16="http://schemas.microsoft.com/office/drawing/2014/main" id="{3CBA916C-12C1-BF1E-70BE-0E75D38FC987}"/>
              </a:ext>
            </a:extLst>
          </p:cNvPr>
          <p:cNvSpPr/>
          <p:nvPr/>
        </p:nvSpPr>
        <p:spPr>
          <a:xfrm>
            <a:off x="4397818" y="2991093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8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93636DC-3CC7-D044-CD76-CAD2CF7B2CB4}"/>
              </a:ext>
            </a:extLst>
          </p:cNvPr>
          <p:cNvSpPr txBox="1"/>
          <p:nvPr/>
        </p:nvSpPr>
        <p:spPr>
          <a:xfrm>
            <a:off x="5603202" y="2469115"/>
            <a:ext cx="60803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If there is a match, view the details of the closest match by clicking on the three dots.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0C50912-C2A1-6283-C623-22B002BEA4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924" y="3796050"/>
            <a:ext cx="6518910" cy="2748915"/>
          </a:xfrm>
          <a:prstGeom prst="rect">
            <a:avLst/>
          </a:prstGeom>
        </p:spPr>
      </p:pic>
      <p:sp>
        <p:nvSpPr>
          <p:cNvPr id="14" name="Flowchart: Connector 13">
            <a:extLst>
              <a:ext uri="{FF2B5EF4-FFF2-40B4-BE49-F238E27FC236}">
                <a16:creationId xmlns:a16="http://schemas.microsoft.com/office/drawing/2014/main" id="{52A2754C-8A3B-5C5E-66D7-1EF9C61ACCFB}"/>
              </a:ext>
            </a:extLst>
          </p:cNvPr>
          <p:cNvSpPr/>
          <p:nvPr/>
        </p:nvSpPr>
        <p:spPr>
          <a:xfrm>
            <a:off x="4397818" y="3850870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9</a:t>
            </a:r>
          </a:p>
        </p:txBody>
      </p:sp>
      <p:sp>
        <p:nvSpPr>
          <p:cNvPr id="15" name="Flowchart: Connector 14">
            <a:extLst>
              <a:ext uri="{FF2B5EF4-FFF2-40B4-BE49-F238E27FC236}">
                <a16:creationId xmlns:a16="http://schemas.microsoft.com/office/drawing/2014/main" id="{7C72A14F-E40A-D401-B4B6-4E9DD995AAAA}"/>
              </a:ext>
            </a:extLst>
          </p:cNvPr>
          <p:cNvSpPr/>
          <p:nvPr/>
        </p:nvSpPr>
        <p:spPr>
          <a:xfrm>
            <a:off x="7129517" y="3919871"/>
            <a:ext cx="264823" cy="262432"/>
          </a:xfrm>
          <a:prstGeom prst="flowChartConnector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5A99F18-19BD-F60F-C85C-2287213DB278}"/>
              </a:ext>
            </a:extLst>
          </p:cNvPr>
          <p:cNvSpPr txBox="1"/>
          <p:nvPr/>
        </p:nvSpPr>
        <p:spPr>
          <a:xfrm>
            <a:off x="7527023" y="3850870"/>
            <a:ext cx="428240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Here you can view your details.  </a:t>
            </a:r>
          </a:p>
          <a:p>
            <a:pPr>
              <a:defRPr/>
            </a:pPr>
            <a:r>
              <a:rPr lang="en-US" dirty="0">
                <a:latin typeface="Bilo Light" panose="020B0303040000020003"/>
                <a:ea typeface="Times New Roman" panose="02020603050405020304" pitchFamily="18" charset="0"/>
                <a:cs typeface="Arial" panose="020B0604020202020204" pitchFamily="34" charset="0"/>
              </a:rPr>
              <a:t>If you can see that you have an account set up, you should “Contact Admin” which opens a page to enter your details and send a message to the person in your company who manages this account.  You can request to be added as an additional user to this account.</a:t>
            </a:r>
          </a:p>
        </p:txBody>
      </p:sp>
    </p:spTree>
    <p:extLst>
      <p:ext uri="{BB962C8B-B14F-4D97-AF65-F5344CB8AC3E}">
        <p14:creationId xmlns:p14="http://schemas.microsoft.com/office/powerpoint/2010/main" val="13230274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F85F59C-A2EC-295D-B2D3-2401254C9B72}"/>
              </a:ext>
            </a:extLst>
          </p:cNvPr>
          <p:cNvSpPr txBox="1"/>
          <p:nvPr/>
        </p:nvSpPr>
        <p:spPr>
          <a:xfrm>
            <a:off x="508488" y="456248"/>
            <a:ext cx="111750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A4054"/>
                </a:solidFill>
                <a:effectLst/>
                <a:uLnTx/>
                <a:uFillTx/>
                <a:latin typeface="Bilo Bold" panose="020B0803040000020003" pitchFamily="34" charset="0"/>
                <a:ea typeface="+mn-ea"/>
                <a:cs typeface="+mn-cs"/>
              </a:rPr>
              <a:t>Supplier Registration with Lipton via </a:t>
            </a:r>
            <a:r>
              <a:rPr lang="en-US" sz="3200" b="1" dirty="0">
                <a:solidFill>
                  <a:srgbClr val="0A4054"/>
                </a:solidFill>
                <a:latin typeface="Bilo Bold" panose="020B0803040000020003" pitchFamily="34" charset="0"/>
              </a:rPr>
              <a:t>SAP Business Network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A4054"/>
              </a:solidFill>
              <a:effectLst/>
              <a:uLnTx/>
              <a:uFillTx/>
              <a:latin typeface="Bilo Bold" panose="020B0803040000020003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D27386-B48F-BA51-8EE3-63D26F649855}"/>
              </a:ext>
            </a:extLst>
          </p:cNvPr>
          <p:cNvSpPr txBox="1"/>
          <p:nvPr/>
        </p:nvSpPr>
        <p:spPr>
          <a:xfrm>
            <a:off x="508488" y="1828533"/>
            <a:ext cx="555489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800" dirty="0">
                <a:effectLst/>
                <a:latin typeface="Bilo Light" panose="020B0303040000020003"/>
                <a:ea typeface="Times New Roman" panose="02020603050405020304" pitchFamily="18" charset="0"/>
              </a:rPr>
              <a:t>From here you can see the landing page or home page of Ariba</a:t>
            </a:r>
            <a:r>
              <a:rPr lang="en-US" dirty="0">
                <a:latin typeface="Bilo Light" panose="020B0303040000020003"/>
                <a:ea typeface="Times New Roman" panose="02020603050405020304" pitchFamily="18" charset="0"/>
              </a:rPr>
              <a:t> to confirm you have now completed the first part of your registration</a:t>
            </a:r>
            <a:endParaRPr lang="en-US" dirty="0">
              <a:highlight>
                <a:srgbClr val="FFFF00"/>
              </a:highlight>
              <a:latin typeface="Bilo Light" panose="020B0303040000020003"/>
              <a:ea typeface="Times New Roman" panose="02020603050405020304" pitchFamily="18" charset="0"/>
            </a:endParaRPr>
          </a:p>
          <a:p>
            <a:pPr>
              <a:defRPr/>
            </a:pPr>
            <a:endParaRPr lang="en-US" dirty="0">
              <a:latin typeface="Bilo Light" panose="020B0303040000020003"/>
            </a:endParaRPr>
          </a:p>
          <a:p>
            <a:pPr>
              <a:defRPr/>
            </a:pPr>
            <a:r>
              <a:rPr lang="en-US" dirty="0">
                <a:latin typeface="Bilo Light" panose="020B0303040000020003"/>
              </a:rPr>
              <a:t>The next stage is to complete the Lipton registration questionnaire to ensure that we hold all the necessary data we need for your business.</a:t>
            </a:r>
          </a:p>
          <a:p>
            <a:pPr>
              <a:defRPr/>
            </a:pPr>
            <a:endParaRPr lang="en-US" dirty="0">
              <a:latin typeface="Bilo Light" panose="020B0303040000020003"/>
            </a:endParaRPr>
          </a:p>
          <a:p>
            <a:pPr>
              <a:defRPr/>
            </a:pPr>
            <a:r>
              <a:rPr lang="en-US" dirty="0">
                <a:latin typeface="Bilo Light" panose="020B0303040000020003"/>
              </a:rPr>
              <a:t>If you are not automatically directed to the questionnaire page, please click on the Business Network drop down, select Ariba proposals and questionnaire and Supplier registration questionnaire.</a:t>
            </a:r>
          </a:p>
        </p:txBody>
      </p:sp>
      <p:pic>
        <p:nvPicPr>
          <p:cNvPr id="6" name="Picture 5" descr="A screenshot of a website&#10;&#10;Description automatically generated">
            <a:extLst>
              <a:ext uri="{FF2B5EF4-FFF2-40B4-BE49-F238E27FC236}">
                <a16:creationId xmlns:a16="http://schemas.microsoft.com/office/drawing/2014/main" id="{A6C9742D-1BCA-2C03-4DDC-0E5D450C0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9365" y="1828533"/>
            <a:ext cx="5068163" cy="154561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3E54179-1755-51FD-C3F6-3B7170DEF9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9365" y="3635483"/>
            <a:ext cx="4843575" cy="880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7550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F85F59C-A2EC-295D-B2D3-2401254C9B72}"/>
              </a:ext>
            </a:extLst>
          </p:cNvPr>
          <p:cNvSpPr txBox="1"/>
          <p:nvPr/>
        </p:nvSpPr>
        <p:spPr>
          <a:xfrm>
            <a:off x="508488" y="456248"/>
            <a:ext cx="111750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A4054"/>
                </a:solidFill>
                <a:effectLst/>
                <a:uLnTx/>
                <a:uFillTx/>
                <a:latin typeface="Bilo Bold" panose="020B0803040000020003" pitchFamily="34" charset="0"/>
                <a:ea typeface="+mn-ea"/>
                <a:cs typeface="+mn-cs"/>
              </a:rPr>
              <a:t>Supplier Registration with Lipton via </a:t>
            </a:r>
            <a:r>
              <a:rPr lang="en-US" sz="3200" b="1" dirty="0">
                <a:solidFill>
                  <a:srgbClr val="0A4054"/>
                </a:solidFill>
                <a:latin typeface="Bilo Bold" panose="020B0803040000020003" pitchFamily="34" charset="0"/>
              </a:rPr>
              <a:t>SAP Business Network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A4054"/>
              </a:solidFill>
              <a:effectLst/>
              <a:uLnTx/>
              <a:uFillTx/>
              <a:latin typeface="Bilo Bold" panose="020B0803040000020003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D27386-B48F-BA51-8EE3-63D26F649855}"/>
              </a:ext>
            </a:extLst>
          </p:cNvPr>
          <p:cNvSpPr txBox="1"/>
          <p:nvPr/>
        </p:nvSpPr>
        <p:spPr>
          <a:xfrm>
            <a:off x="508488" y="1417985"/>
            <a:ext cx="10674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dirty="0">
                <a:latin typeface="Bilo Light" panose="020B0303040000020003"/>
              </a:rPr>
              <a:t>This document is </a:t>
            </a:r>
            <a:r>
              <a:rPr lang="en-US" dirty="0" err="1">
                <a:latin typeface="Bilo Light" panose="020B0303040000020003"/>
              </a:rPr>
              <a:t>customised</a:t>
            </a:r>
            <a:r>
              <a:rPr lang="en-US" dirty="0">
                <a:latin typeface="Bilo Light" panose="020B0303040000020003"/>
              </a:rPr>
              <a:t> for Lipton. Kindly complete the details as follows, all fields marked * are mandatory</a:t>
            </a:r>
            <a:endParaRPr lang="en-GB" dirty="0">
              <a:latin typeface="Bilo Light" panose="020B0303040000020003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9070B9-C7F6-3314-F1BF-4DF150B90F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813" y="1879650"/>
            <a:ext cx="8269317" cy="360810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20E720A-FE7B-9B6E-E0AE-116C93E7F97C}"/>
              </a:ext>
            </a:extLst>
          </p:cNvPr>
          <p:cNvSpPr txBox="1"/>
          <p:nvPr/>
        </p:nvSpPr>
        <p:spPr>
          <a:xfrm>
            <a:off x="8843119" y="4978350"/>
            <a:ext cx="26127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200" dirty="0">
                <a:latin typeface="Bilo Light" panose="020B0303040000020003"/>
              </a:rPr>
              <a:t>Ensure this your company legal name</a:t>
            </a:r>
          </a:p>
        </p:txBody>
      </p:sp>
    </p:spTree>
    <p:extLst>
      <p:ext uri="{BB962C8B-B14F-4D97-AF65-F5344CB8AC3E}">
        <p14:creationId xmlns:p14="http://schemas.microsoft.com/office/powerpoint/2010/main" val="22037528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Neutra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A4054"/>
      </a:accent1>
      <a:accent2>
        <a:srgbClr val="4472C4"/>
      </a:accent2>
      <a:accent3>
        <a:srgbClr val="22B0AE"/>
      </a:accent3>
      <a:accent4>
        <a:srgbClr val="0A4054"/>
      </a:accent4>
      <a:accent5>
        <a:srgbClr val="1F608B"/>
      </a:accent5>
      <a:accent6>
        <a:srgbClr val="DFECED"/>
      </a:accent6>
      <a:hlink>
        <a:srgbClr val="AAC3E8"/>
      </a:hlink>
      <a:folHlink>
        <a:srgbClr val="1F2C8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Neutra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A4054"/>
      </a:accent1>
      <a:accent2>
        <a:srgbClr val="4472C4"/>
      </a:accent2>
      <a:accent3>
        <a:srgbClr val="22B0AE"/>
      </a:accent3>
      <a:accent4>
        <a:srgbClr val="0A4054"/>
      </a:accent4>
      <a:accent5>
        <a:srgbClr val="1F608B"/>
      </a:accent5>
      <a:accent6>
        <a:srgbClr val="DFECED"/>
      </a:accent6>
      <a:hlink>
        <a:srgbClr val="AAC3E8"/>
      </a:hlink>
      <a:folHlink>
        <a:srgbClr val="1F2C8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73F0CE084DC74B9AC4130A28F0AE62" ma:contentTypeVersion="15" ma:contentTypeDescription="Create a new document." ma:contentTypeScope="" ma:versionID="c65c17540dbbdcbf377a1af4781f6c56">
  <xsd:schema xmlns:xsd="http://www.w3.org/2001/XMLSchema" xmlns:xs="http://www.w3.org/2001/XMLSchema" xmlns:p="http://schemas.microsoft.com/office/2006/metadata/properties" xmlns:ns2="74869e74-f9cb-42a0-9e97-e4d1222582ea" xmlns:ns3="83f56924-49c9-46c5-acc9-3000278627ce" targetNamespace="http://schemas.microsoft.com/office/2006/metadata/properties" ma:root="true" ma:fieldsID="16b1d4ca993182ff4db82d4b515afdb8" ns2:_="" ns3:_="">
    <xsd:import namespace="74869e74-f9cb-42a0-9e97-e4d1222582ea"/>
    <xsd:import namespace="83f56924-49c9-46c5-acc9-3000278627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https_x003a__x002f__x002f_liptonteas_x002e_sharepoint_x002e_com_x002f__x003a_p_x003a__x002f_g_x002f_Ef_ZE9Qoax9Nk5DcWUkjzNEB_COZjjX_x002d_TSvtEjhAoTHrcg_x003f_e_x003d_q9d4dN" minOccurs="0"/>
                <xsd:element ref="ns2:Link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869e74-f9cb-42a0-9e97-e4d1222582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140ee53b-8227-4b5d-b69e-e3963e65f2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https_x003a__x002f__x002f_liptonteas_x002e_sharepoint_x002e_com_x002f__x003a_p_x003a__x002f_g_x002f_Ef_ZE9Qoax9Nk5DcWUkjzNEB_COZjjX_x002d_TSvtEjhAoTHrcg_x003f_e_x003d_q9d4dN" ma:index="20" nillable="true" ma:displayName="https://liptonteas.sharepoint.com/:p:/g/Ef_ZE9Qoax9Nk5DcWUkjzNEB_COZjjX-TSvtEjhAoTHrcg?e=q9d4dN" ma:format="Dropdown" ma:internalName="https_x003a__x002f__x002f_liptonteas_x002e_sharepoint_x002e_com_x002f__x003a_p_x003a__x002f_g_x002f_Ef_ZE9Qoax9Nk5DcWUkjzNEB_COZjjX_x002d_TSvtEjhAoTHrcg_x003f_e_x003d_q9d4dN">
      <xsd:simpleType>
        <xsd:restriction base="dms:Text">
          <xsd:maxLength value="255"/>
        </xsd:restriction>
      </xsd:simpleType>
    </xsd:element>
    <xsd:element name="Link" ma:index="21" nillable="true" ma:displayName="Link" ma:default="https://liptonteas.sharepoint.com/:p:/g/Ef_ZE9Qoax9Nk5DcWUkjzNEB_COZjjX-TSvtEjhAoTHrcg?e=q9d4dN" ma:description="https://liptonteas.sharepoint.com/:p:/g/Ef_ZE9Qoax9Nk5DcWUkjzNEB_COZjjX-TSvtEjhAoTHrcg?e=q9d4dN" ma:format="Dropdown" ma:internalName="Link">
      <xsd:simpleType>
        <xsd:restriction base="dms:Text">
          <xsd:maxLength value="255"/>
        </xsd:restriction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f56924-49c9-46c5-acc9-3000278627c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4dd98b0e-d90f-4dbd-b6bb-e2e84e0faf2c}" ma:internalName="TaxCatchAll" ma:showField="CatchAllData" ma:web="83f56924-49c9-46c5-acc9-3000278627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3f56924-49c9-46c5-acc9-3000278627ce" xsi:nil="true"/>
    <lcf76f155ced4ddcb4097134ff3c332f xmlns="74869e74-f9cb-42a0-9e97-e4d1222582ea">
      <Terms xmlns="http://schemas.microsoft.com/office/infopath/2007/PartnerControls"/>
    </lcf76f155ced4ddcb4097134ff3c332f>
    <https_x003a__x002f__x002f_liptonteas_x002e_sharepoint_x002e_com_x002f__x003a_p_x003a__x002f_g_x002f_Ef_ZE9Qoax9Nk5DcWUkjzNEB_COZjjX_x002d_TSvtEjhAoTHrcg_x003f_e_x003d_q9d4dN xmlns="74869e74-f9cb-42a0-9e97-e4d1222582ea" xsi:nil="true"/>
    <Link xmlns="74869e74-f9cb-42a0-9e97-e4d1222582ea">https://liptonteas.sharepoint.com/:p:/g/Ef_ZE9Qoax9Nk5DcWUkjzNEB_COZjjX-TSvtEjhAoTHrcg?e=q9d4dN</Link>
  </documentManagement>
</p:properties>
</file>

<file path=customXml/itemProps1.xml><?xml version="1.0" encoding="utf-8"?>
<ds:datastoreItem xmlns:ds="http://schemas.openxmlformats.org/officeDocument/2006/customXml" ds:itemID="{55DD1150-C8FD-4DC2-BC70-EB37022091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4869e74-f9cb-42a0-9e97-e4d1222582ea"/>
    <ds:schemaRef ds:uri="83f56924-49c9-46c5-acc9-3000278627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6D23460-E667-4059-B967-5E5ED1544A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EF67E4C-B163-4B9B-BD3D-7BC0D4849B2A}">
  <ds:schemaRefs>
    <ds:schemaRef ds:uri="74869e74-f9cb-42a0-9e97-e4d1222582ea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83f56924-49c9-46c5-acc9-3000278627ce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68</TotalTime>
  <Words>1061</Words>
  <Application>Microsoft Office PowerPoint</Application>
  <PresentationFormat>Widescreen</PresentationFormat>
  <Paragraphs>101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Bilo</vt:lpstr>
      <vt:lpstr>Bilo Bold</vt:lpstr>
      <vt:lpstr>Bilo Light</vt:lpstr>
      <vt:lpstr>Calibri</vt:lpstr>
      <vt:lpstr>Times New Roman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orney2, Michelle</dc:creator>
  <cp:lastModifiedBy>Stanislav Mazitov</cp:lastModifiedBy>
  <cp:revision>20</cp:revision>
  <dcterms:created xsi:type="dcterms:W3CDTF">2023-06-06T13:12:37Z</dcterms:created>
  <dcterms:modified xsi:type="dcterms:W3CDTF">2023-11-01T15:2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73F0CE084DC74B9AC4130A28F0AE62</vt:lpwstr>
  </property>
  <property fmtid="{D5CDD505-2E9C-101B-9397-08002B2CF9AE}" pid="3" name="MediaServiceImageTags">
    <vt:lpwstr/>
  </property>
</Properties>
</file>